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4"/>
  </p:notesMasterIdLst>
  <p:sldIdLst>
    <p:sldId id="260" r:id="rId3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EF51C-C716-4D92-8914-0FEB20707DF1}" type="datetimeFigureOut">
              <a:rPr lang="da-DK" smtClean="0"/>
              <a:t>01-07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388F8-2501-49B8-A2FD-24BD0286F94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3764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E361AC-56BF-4D03-8B8F-7F4553CD4FD5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576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525" y="1406758"/>
            <a:ext cx="7321550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7851" y="350044"/>
            <a:ext cx="1911644" cy="293222"/>
          </a:xfrm>
        </p:spPr>
        <p:txBody>
          <a:bodyPr vert="horz" wrap="square" rIns="90000" anchor="t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/>
              <a:t>Tilføj navn, titel, område eller  afdeling mv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725" y="350044"/>
            <a:ext cx="1539582" cy="139462"/>
          </a:xfrm>
          <a:prstGeom prst="rect">
            <a:avLst/>
          </a:prstGeom>
        </p:spPr>
        <p:txBody>
          <a:bodyPr vert="horz" wrap="square" tIns="0" rIns="0" bIns="0" anchor="t" anchorCtr="0">
            <a:spAutoFit/>
          </a:bodyPr>
          <a:lstStyle>
            <a:lvl1pPr algn="r">
              <a:lnSpc>
                <a:spcPct val="111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/>
              <a:t>Skriv dat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E33921-9D41-4F2D-9ECF-C3A239C921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5937" y="290143"/>
            <a:ext cx="1405732" cy="348377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80959FDC-A478-4CFE-9A93-774EC62600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7" y="4130368"/>
            <a:ext cx="5399087" cy="87609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/>
              <a:t>Klik for at tilføje underoverskrift i flere linjer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E6284DC-5B53-4048-8053-577C02ED20A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0951" y="3621928"/>
            <a:ext cx="1343025" cy="2667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781AB85-8928-4915-914D-289C46E793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54200" y="4833937"/>
            <a:ext cx="2828925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217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10155237" cy="898297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8" y="1818000"/>
            <a:ext cx="10155239" cy="4282763"/>
          </a:xfrm>
        </p:spPr>
        <p:txBody>
          <a:bodyPr/>
          <a:lstStyle>
            <a:lvl1pPr marL="0" indent="0">
              <a:lnSpc>
                <a:spcPct val="105000"/>
              </a:lnSpc>
              <a:buNone/>
              <a:defRPr sz="2700"/>
            </a:lvl1pPr>
            <a:lvl2pPr marL="266700" indent="-266700">
              <a:lnSpc>
                <a:spcPct val="105000"/>
              </a:lnSpc>
              <a:tabLst/>
              <a:defRPr sz="2700"/>
            </a:lvl2pPr>
            <a:lvl3pPr marL="533400" indent="-228600">
              <a:lnSpc>
                <a:spcPct val="105000"/>
              </a:lnSpc>
              <a:tabLst/>
              <a:defRPr sz="2700"/>
            </a:lvl3pPr>
            <a:lvl4pPr>
              <a:lnSpc>
                <a:spcPct val="105000"/>
              </a:lnSpc>
              <a:defRPr sz="2700"/>
            </a:lvl4pPr>
            <a:lvl5pPr>
              <a:lnSpc>
                <a:spcPct val="105000"/>
              </a:lnSpc>
              <a:defRPr sz="2700"/>
            </a:lvl5pPr>
          </a:lstStyle>
          <a:p>
            <a:pPr lvl="0"/>
            <a:r>
              <a:rPr lang="da-DK" dirty="0"/>
              <a:t>Klik for at tilføje tekst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114218D-5387-4BC8-84C8-CC431AF9AAE6}" type="datetime2">
              <a:rPr lang="da-DK" smtClean="0"/>
              <a:t>1. juli 2026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nformationer om Gældsstyrelse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28145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+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5375275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5375276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539749" y="1818000"/>
            <a:ext cx="5375276" cy="4282763"/>
          </a:xfrm>
        </p:spPr>
        <p:txBody>
          <a:bodyPr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0"/>
            <a:ext cx="5916612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mplementeringsmøde med berørte kontorchefer 26/8-2022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369F211-FDD1-4E92-95B5-71B9EC979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CC22A2C9-7474-4197-B145-F14336033C93}" type="datetime2">
              <a:rPr lang="da-DK" smtClean="0"/>
              <a:t>1. juli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655518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spalter A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539749" y="1818000"/>
            <a:ext cx="5375276" cy="4282763"/>
          </a:xfrm>
        </p:spPr>
        <p:txBody>
          <a:bodyPr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71663"/>
            <a:ext cx="5373686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3968A7C-EB71-4AB0-8F87-024B303C6C8B}" type="datetime2">
              <a:rPr lang="da-DK" smtClean="0"/>
              <a:t>1. juli 2026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mplementeringsmøde med berørte kontorchefer 9/9-2022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556850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525" y="1406758"/>
            <a:ext cx="7321550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7851" y="350044"/>
            <a:ext cx="1911644" cy="293222"/>
          </a:xfrm>
        </p:spPr>
        <p:txBody>
          <a:bodyPr vert="horz" wrap="square" rIns="90000" anchor="t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/>
              <a:t>Tilføj navn, titel, område eller  afdeling mv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725" y="350044"/>
            <a:ext cx="1539582" cy="139462"/>
          </a:xfrm>
          <a:prstGeom prst="rect">
            <a:avLst/>
          </a:prstGeom>
        </p:spPr>
        <p:txBody>
          <a:bodyPr vert="horz" wrap="square" tIns="0" rIns="0" bIns="0" anchor="t" anchorCtr="0">
            <a:spAutoFit/>
          </a:bodyPr>
          <a:lstStyle>
            <a:lvl1pPr algn="r">
              <a:lnSpc>
                <a:spcPct val="111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/>
              <a:t>Skriv dat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E33921-9D41-4F2D-9ECF-C3A239C921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5937" y="290143"/>
            <a:ext cx="1405732" cy="348377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80959FDC-A478-4CFE-9A93-774EC62600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7" y="4130368"/>
            <a:ext cx="5399087" cy="87609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/>
              <a:t>Klik for at tilføje underoverskrift i flere linjer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E6284DC-5B53-4048-8053-577C02ED20A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0951" y="3621928"/>
            <a:ext cx="1343025" cy="2667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781AB85-8928-4915-914D-289C46E793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54200" y="4833937"/>
            <a:ext cx="2828925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46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7851" y="350044"/>
            <a:ext cx="1911644" cy="293222"/>
          </a:xfrm>
        </p:spPr>
        <p:txBody>
          <a:bodyPr vert="horz" wrap="square" rIns="90000" anchor="t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/>
              <a:t>Tilføj navn, titel, område eller  afdeling mv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725" y="350044"/>
            <a:ext cx="1539582" cy="139462"/>
          </a:xfrm>
          <a:prstGeom prst="rect">
            <a:avLst/>
          </a:prstGeom>
        </p:spPr>
        <p:txBody>
          <a:bodyPr vert="horz" wrap="square" tIns="0" rIns="0" bIns="0" anchor="t" anchorCtr="0">
            <a:spAutoFit/>
          </a:bodyPr>
          <a:lstStyle>
            <a:lvl1pPr algn="r">
              <a:lnSpc>
                <a:spcPct val="111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/>
              <a:t>Skriv dato</a:t>
            </a:r>
          </a:p>
        </p:txBody>
      </p:sp>
      <p:sp>
        <p:nvSpPr>
          <p:cNvPr id="8" name="Text Placeholder 22">
            <a:extLst>
              <a:ext uri="{FF2B5EF4-FFF2-40B4-BE49-F238E27FC236}">
                <a16:creationId xmlns:a16="http://schemas.microsoft.com/office/drawing/2014/main" id="{19B5CC52-8216-467A-8843-F11FBEC107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12836" y="3041059"/>
            <a:ext cx="4039199" cy="3163997"/>
          </a:xfrm>
          <a:custGeom>
            <a:avLst/>
            <a:gdLst>
              <a:gd name="connsiteX0" fmla="*/ 1345969 w 4039199"/>
              <a:gd name="connsiteY0" fmla="*/ 2893942 h 3163997"/>
              <a:gd name="connsiteX1" fmla="*/ 2693230 w 4039199"/>
              <a:gd name="connsiteY1" fmla="*/ 2893942 h 3163997"/>
              <a:gd name="connsiteX2" fmla="*/ 2693230 w 4039199"/>
              <a:gd name="connsiteY2" fmla="*/ 3163997 h 3163997"/>
              <a:gd name="connsiteX3" fmla="*/ 1345969 w 4039199"/>
              <a:gd name="connsiteY3" fmla="*/ 3163997 h 3163997"/>
              <a:gd name="connsiteX4" fmla="*/ 0 w 4039199"/>
              <a:gd name="connsiteY4" fmla="*/ 2082914 h 3163997"/>
              <a:gd name="connsiteX5" fmla="*/ 1345969 w 4039199"/>
              <a:gd name="connsiteY5" fmla="*/ 2082914 h 3163997"/>
              <a:gd name="connsiteX6" fmla="*/ 1345969 w 4039199"/>
              <a:gd name="connsiteY6" fmla="*/ 2352969 h 3163997"/>
              <a:gd name="connsiteX7" fmla="*/ 0 w 4039199"/>
              <a:gd name="connsiteY7" fmla="*/ 2352969 h 3163997"/>
              <a:gd name="connsiteX8" fmla="*/ 2693231 w 4039199"/>
              <a:gd name="connsiteY8" fmla="*/ 0 h 3163997"/>
              <a:gd name="connsiteX9" fmla="*/ 4039199 w 4039199"/>
              <a:gd name="connsiteY9" fmla="*/ 0 h 3163997"/>
              <a:gd name="connsiteX10" fmla="*/ 4039199 w 4039199"/>
              <a:gd name="connsiteY10" fmla="*/ 269625 h 3163997"/>
              <a:gd name="connsiteX11" fmla="*/ 2693231 w 4039199"/>
              <a:gd name="connsiteY11" fmla="*/ 269625 h 316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199" h="3163997">
                <a:moveTo>
                  <a:pt x="1345969" y="2893942"/>
                </a:moveTo>
                <a:lnTo>
                  <a:pt x="2693230" y="2893942"/>
                </a:lnTo>
                <a:lnTo>
                  <a:pt x="2693230" y="3163997"/>
                </a:lnTo>
                <a:lnTo>
                  <a:pt x="1345969" y="3163997"/>
                </a:lnTo>
                <a:close/>
                <a:moveTo>
                  <a:pt x="0" y="2082914"/>
                </a:moveTo>
                <a:lnTo>
                  <a:pt x="1345969" y="2082914"/>
                </a:lnTo>
                <a:lnTo>
                  <a:pt x="1345969" y="2352969"/>
                </a:lnTo>
                <a:lnTo>
                  <a:pt x="0" y="2352969"/>
                </a:lnTo>
                <a:close/>
                <a:moveTo>
                  <a:pt x="2693231" y="0"/>
                </a:moveTo>
                <a:lnTo>
                  <a:pt x="4039199" y="0"/>
                </a:lnTo>
                <a:lnTo>
                  <a:pt x="4039199" y="269625"/>
                </a:lnTo>
                <a:lnTo>
                  <a:pt x="2693231" y="269625"/>
                </a:lnTo>
                <a:close/>
              </a:path>
            </a:pathLst>
          </a:custGeom>
          <a:solidFill>
            <a:srgbClr val="FF620C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E33921-9D41-4F2D-9ECF-C3A239C921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5937" y="290143"/>
            <a:ext cx="1405732" cy="34837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1EE3ED9-81F3-413A-9452-84760DDEB8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7525" y="2107943"/>
            <a:ext cx="7321550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</a:t>
            </a:r>
            <a:br>
              <a:rPr lang="da-DK"/>
            </a:br>
            <a:r>
              <a:rPr lang="da-DK"/>
              <a:t>helst ikke over 2 linjer</a:t>
            </a:r>
          </a:p>
        </p:txBody>
      </p:sp>
    </p:spTree>
    <p:extLst>
      <p:ext uri="{BB962C8B-B14F-4D97-AF65-F5344CB8AC3E}">
        <p14:creationId xmlns:p14="http://schemas.microsoft.com/office/powerpoint/2010/main" val="2002551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7526" y="1871663"/>
            <a:ext cx="7321550" cy="42291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</a:lstStyle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97850" y="1871663"/>
            <a:ext cx="3478212" cy="4229100"/>
          </a:xfrm>
          <a:solidFill>
            <a:schemeClr val="bg2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/>
              <a:t>Klik på ikonet for at tilføje billede eller grafik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A84ECD2C-8316-A283-51EF-0BD159695C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A4384B3-1E26-4265-9925-C5677D617C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591138"/>
            <a:ext cx="11160123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6DFBC57-181C-4112-BBF8-BF48BA8F22B3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8" y="1114425"/>
            <a:ext cx="11160125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4048132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8" y="1485900"/>
            <a:ext cx="5399087" cy="4614863"/>
          </a:xfrm>
        </p:spPr>
        <p:txBody>
          <a:bodyPr anchor="ctr" anchorCtr="0"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 </a:t>
            </a:r>
          </a:p>
          <a:p>
            <a:pPr lvl="0"/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6977" y="0"/>
            <a:ext cx="5915024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/>
              <a:t>Klik på ikonet for at tilføje billede eller graf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1A64F4A-17F3-4B38-5937-934026CC56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42C8DD-894E-4FF0-B871-6953E8643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591138"/>
            <a:ext cx="5399086" cy="894762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6" name="Undertitel 9">
            <a:extLst>
              <a:ext uri="{FF2B5EF4-FFF2-40B4-BE49-F238E27FC236}">
                <a16:creationId xmlns:a16="http://schemas.microsoft.com/office/drawing/2014/main" id="{4FC3068F-44E1-488C-8B08-0644910DBDF7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520698" y="1153837"/>
            <a:ext cx="5394326" cy="435525"/>
          </a:xfrm>
        </p:spPr>
        <p:txBody>
          <a:bodyPr lIns="3600"/>
          <a:lstStyle/>
          <a:p>
            <a:r>
              <a:rPr lang="da-DK"/>
              <a:t>Klik for at redigere under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617669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(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7" y="1871662"/>
            <a:ext cx="5399088" cy="4229101"/>
          </a:xfrm>
        </p:spPr>
        <p:txBody>
          <a:bodyPr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5388" y="1871662"/>
            <a:ext cx="5399088" cy="4229099"/>
          </a:xfrm>
        </p:spPr>
        <p:txBody>
          <a:bodyPr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87C8F435-BA45-DE44-1B33-39FA5B018E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5A10D8A-6C0A-4B9B-B522-077A37DC3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525" y="591138"/>
            <a:ext cx="11158538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D2D1D5C-1BD6-4C98-933F-DA0FA216E50D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7" y="1114425"/>
            <a:ext cx="11158537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1672517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r (tekstbo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7" y="1871662"/>
            <a:ext cx="3478213" cy="4229101"/>
          </a:xfrm>
          <a:solidFill>
            <a:srgbClr val="E8E2E1"/>
          </a:solidFill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52926" y="1871662"/>
            <a:ext cx="3486149" cy="4229099"/>
          </a:xfrm>
          <a:solidFill>
            <a:srgbClr val="D0D0D8"/>
          </a:solidFill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87C8F435-BA45-DE44-1B33-39FA5B018E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5A10D8A-6C0A-4B9B-B522-077A37DC3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525" y="591138"/>
            <a:ext cx="11158538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D2D1D5C-1BD6-4C98-933F-DA0FA216E50D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7" y="1114425"/>
            <a:ext cx="11158537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  <p:sp>
        <p:nvSpPr>
          <p:cNvPr id="2" name="Content Placeholder 13">
            <a:extLst>
              <a:ext uri="{FF2B5EF4-FFF2-40B4-BE49-F238E27FC236}">
                <a16:creationId xmlns:a16="http://schemas.microsoft.com/office/drawing/2014/main" id="{C64866B3-E2EB-A3DE-E45E-1E44D448B04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97850" y="1871661"/>
            <a:ext cx="3476624" cy="4229099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</p:spTree>
    <p:extLst>
      <p:ext uri="{BB962C8B-B14F-4D97-AF65-F5344CB8AC3E}">
        <p14:creationId xmlns:p14="http://schemas.microsoft.com/office/powerpoint/2010/main" val="600829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EE6EF2C6-A9BA-944D-0B64-B7D54687B3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A098580-2E19-41FF-81A3-7D158A762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91138"/>
            <a:ext cx="11160123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7B44483-F5A0-4041-81E5-5A25A32E930F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8" y="1114425"/>
            <a:ext cx="11160123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3344114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9FCC3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7851" y="350044"/>
            <a:ext cx="1911644" cy="293222"/>
          </a:xfrm>
        </p:spPr>
        <p:txBody>
          <a:bodyPr vert="horz" wrap="square" rIns="90000" anchor="t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/>
              <a:t>Tilføj navn, titel, område eller  afdeling mv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725" y="350044"/>
            <a:ext cx="1539582" cy="139462"/>
          </a:xfrm>
          <a:prstGeom prst="rect">
            <a:avLst/>
          </a:prstGeom>
        </p:spPr>
        <p:txBody>
          <a:bodyPr vert="horz" wrap="square" tIns="0" rIns="0" bIns="0" anchor="t" anchorCtr="0">
            <a:spAutoFit/>
          </a:bodyPr>
          <a:lstStyle>
            <a:lvl1pPr algn="r">
              <a:lnSpc>
                <a:spcPct val="111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/>
              <a:t>Skriv dato</a:t>
            </a:r>
          </a:p>
        </p:txBody>
      </p:sp>
      <p:sp>
        <p:nvSpPr>
          <p:cNvPr id="8" name="Text Placeholder 22">
            <a:extLst>
              <a:ext uri="{FF2B5EF4-FFF2-40B4-BE49-F238E27FC236}">
                <a16:creationId xmlns:a16="http://schemas.microsoft.com/office/drawing/2014/main" id="{19B5CC52-8216-467A-8843-F11FBEC107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12836" y="3041059"/>
            <a:ext cx="4039199" cy="3163997"/>
          </a:xfrm>
          <a:custGeom>
            <a:avLst/>
            <a:gdLst>
              <a:gd name="connsiteX0" fmla="*/ 1345969 w 4039199"/>
              <a:gd name="connsiteY0" fmla="*/ 2893942 h 3163997"/>
              <a:gd name="connsiteX1" fmla="*/ 2693230 w 4039199"/>
              <a:gd name="connsiteY1" fmla="*/ 2893942 h 3163997"/>
              <a:gd name="connsiteX2" fmla="*/ 2693230 w 4039199"/>
              <a:gd name="connsiteY2" fmla="*/ 3163997 h 3163997"/>
              <a:gd name="connsiteX3" fmla="*/ 1345969 w 4039199"/>
              <a:gd name="connsiteY3" fmla="*/ 3163997 h 3163997"/>
              <a:gd name="connsiteX4" fmla="*/ 0 w 4039199"/>
              <a:gd name="connsiteY4" fmla="*/ 2082914 h 3163997"/>
              <a:gd name="connsiteX5" fmla="*/ 1345969 w 4039199"/>
              <a:gd name="connsiteY5" fmla="*/ 2082914 h 3163997"/>
              <a:gd name="connsiteX6" fmla="*/ 1345969 w 4039199"/>
              <a:gd name="connsiteY6" fmla="*/ 2352969 h 3163997"/>
              <a:gd name="connsiteX7" fmla="*/ 0 w 4039199"/>
              <a:gd name="connsiteY7" fmla="*/ 2352969 h 3163997"/>
              <a:gd name="connsiteX8" fmla="*/ 2693231 w 4039199"/>
              <a:gd name="connsiteY8" fmla="*/ 0 h 3163997"/>
              <a:gd name="connsiteX9" fmla="*/ 4039199 w 4039199"/>
              <a:gd name="connsiteY9" fmla="*/ 0 h 3163997"/>
              <a:gd name="connsiteX10" fmla="*/ 4039199 w 4039199"/>
              <a:gd name="connsiteY10" fmla="*/ 269625 h 3163997"/>
              <a:gd name="connsiteX11" fmla="*/ 2693231 w 4039199"/>
              <a:gd name="connsiteY11" fmla="*/ 269625 h 316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199" h="3163997">
                <a:moveTo>
                  <a:pt x="1345969" y="2893942"/>
                </a:moveTo>
                <a:lnTo>
                  <a:pt x="2693230" y="2893942"/>
                </a:lnTo>
                <a:lnTo>
                  <a:pt x="2693230" y="3163997"/>
                </a:lnTo>
                <a:lnTo>
                  <a:pt x="1345969" y="3163997"/>
                </a:lnTo>
                <a:close/>
                <a:moveTo>
                  <a:pt x="0" y="2082914"/>
                </a:moveTo>
                <a:lnTo>
                  <a:pt x="1345969" y="2082914"/>
                </a:lnTo>
                <a:lnTo>
                  <a:pt x="1345969" y="2352969"/>
                </a:lnTo>
                <a:lnTo>
                  <a:pt x="0" y="2352969"/>
                </a:lnTo>
                <a:close/>
                <a:moveTo>
                  <a:pt x="2693231" y="0"/>
                </a:moveTo>
                <a:lnTo>
                  <a:pt x="4039199" y="0"/>
                </a:lnTo>
                <a:lnTo>
                  <a:pt x="4039199" y="269625"/>
                </a:lnTo>
                <a:lnTo>
                  <a:pt x="2693231" y="269625"/>
                </a:lnTo>
                <a:close/>
              </a:path>
            </a:pathLst>
          </a:custGeom>
          <a:solidFill>
            <a:srgbClr val="FF620C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E33921-9D41-4F2D-9ECF-C3A239C921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5937" y="290143"/>
            <a:ext cx="1405732" cy="34837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1EE3ED9-81F3-413A-9452-84760DDEB8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7525" y="2107943"/>
            <a:ext cx="7321550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</a:t>
            </a:r>
            <a:br>
              <a:rPr lang="da-DK"/>
            </a:br>
            <a:r>
              <a:rPr lang="da-DK"/>
              <a:t>helst ikke over 2 linjer</a:t>
            </a:r>
          </a:p>
        </p:txBody>
      </p:sp>
    </p:spTree>
    <p:extLst>
      <p:ext uri="{BB962C8B-B14F-4D97-AF65-F5344CB8AC3E}">
        <p14:creationId xmlns:p14="http://schemas.microsoft.com/office/powerpoint/2010/main" val="138302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med agenda status">
    <p:bg>
      <p:bgPr>
        <a:solidFill>
          <a:srgbClr val="141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814665"/>
            <a:ext cx="11160125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4656D22-6934-1A6E-9FFE-4C0FD81DB5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5" name="Billede 4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ABAC84CE-331C-9963-B00C-DC5B55E9D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1DF8CFB1-4D38-4385-BA30-DD99E4C530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12836" y="3041059"/>
            <a:ext cx="4039199" cy="3163997"/>
          </a:xfrm>
          <a:custGeom>
            <a:avLst/>
            <a:gdLst>
              <a:gd name="connsiteX0" fmla="*/ 1345969 w 4039199"/>
              <a:gd name="connsiteY0" fmla="*/ 2893942 h 3163997"/>
              <a:gd name="connsiteX1" fmla="*/ 2693230 w 4039199"/>
              <a:gd name="connsiteY1" fmla="*/ 2893942 h 3163997"/>
              <a:gd name="connsiteX2" fmla="*/ 2693230 w 4039199"/>
              <a:gd name="connsiteY2" fmla="*/ 3163997 h 3163997"/>
              <a:gd name="connsiteX3" fmla="*/ 1345969 w 4039199"/>
              <a:gd name="connsiteY3" fmla="*/ 3163997 h 3163997"/>
              <a:gd name="connsiteX4" fmla="*/ 0 w 4039199"/>
              <a:gd name="connsiteY4" fmla="*/ 2082914 h 3163997"/>
              <a:gd name="connsiteX5" fmla="*/ 1345969 w 4039199"/>
              <a:gd name="connsiteY5" fmla="*/ 2082914 h 3163997"/>
              <a:gd name="connsiteX6" fmla="*/ 1345969 w 4039199"/>
              <a:gd name="connsiteY6" fmla="*/ 2352969 h 3163997"/>
              <a:gd name="connsiteX7" fmla="*/ 0 w 4039199"/>
              <a:gd name="connsiteY7" fmla="*/ 2352969 h 3163997"/>
              <a:gd name="connsiteX8" fmla="*/ 2693231 w 4039199"/>
              <a:gd name="connsiteY8" fmla="*/ 0 h 3163997"/>
              <a:gd name="connsiteX9" fmla="*/ 4039199 w 4039199"/>
              <a:gd name="connsiteY9" fmla="*/ 0 h 3163997"/>
              <a:gd name="connsiteX10" fmla="*/ 4039199 w 4039199"/>
              <a:gd name="connsiteY10" fmla="*/ 269625 h 3163997"/>
              <a:gd name="connsiteX11" fmla="*/ 2693231 w 4039199"/>
              <a:gd name="connsiteY11" fmla="*/ 269625 h 316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199" h="3163997">
                <a:moveTo>
                  <a:pt x="1345969" y="2893942"/>
                </a:moveTo>
                <a:lnTo>
                  <a:pt x="2693230" y="2893942"/>
                </a:lnTo>
                <a:lnTo>
                  <a:pt x="2693230" y="3163997"/>
                </a:lnTo>
                <a:lnTo>
                  <a:pt x="1345969" y="3163997"/>
                </a:lnTo>
                <a:close/>
                <a:moveTo>
                  <a:pt x="0" y="2082914"/>
                </a:moveTo>
                <a:lnTo>
                  <a:pt x="1345969" y="2082914"/>
                </a:lnTo>
                <a:lnTo>
                  <a:pt x="1345969" y="2352969"/>
                </a:lnTo>
                <a:lnTo>
                  <a:pt x="0" y="2352969"/>
                </a:lnTo>
                <a:close/>
                <a:moveTo>
                  <a:pt x="2693231" y="0"/>
                </a:moveTo>
                <a:lnTo>
                  <a:pt x="4039199" y="0"/>
                </a:lnTo>
                <a:lnTo>
                  <a:pt x="4039199" y="269625"/>
                </a:lnTo>
                <a:lnTo>
                  <a:pt x="2693231" y="269625"/>
                </a:lnTo>
                <a:close/>
              </a:path>
            </a:pathLst>
          </a:custGeom>
          <a:solidFill>
            <a:srgbClr val="FF620C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8176907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/Opsummering flere linjer">
    <p:bg>
      <p:bgPr>
        <a:solidFill>
          <a:srgbClr val="141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933" y="647701"/>
            <a:ext cx="11160126" cy="3069331"/>
          </a:xfrm>
        </p:spPr>
        <p:txBody>
          <a:bodyPr anchor="b">
            <a:normAutofit/>
          </a:bodyPr>
          <a:lstStyle>
            <a:lvl1pPr algn="ctr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Skilles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8" y="4077072"/>
            <a:ext cx="11160125" cy="876098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/>
              <a:t>Skriv evt. supplerende tekst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3437C85-11E7-4643-F095-081979FADB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6" name="Billede 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899E25CA-CC7E-2051-6002-53770567C8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1624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10155237" cy="898297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8" y="1818000"/>
            <a:ext cx="10155239" cy="4282763"/>
          </a:xfrm>
        </p:spPr>
        <p:txBody>
          <a:bodyPr/>
          <a:lstStyle>
            <a:lvl1pPr marL="0" indent="0">
              <a:lnSpc>
                <a:spcPct val="105000"/>
              </a:lnSpc>
              <a:buNone/>
              <a:defRPr sz="2700"/>
            </a:lvl1pPr>
            <a:lvl2pPr marL="266700" indent="-266700">
              <a:lnSpc>
                <a:spcPct val="105000"/>
              </a:lnSpc>
              <a:tabLst/>
              <a:defRPr sz="2700"/>
            </a:lvl2pPr>
            <a:lvl3pPr marL="533400" indent="-228600">
              <a:lnSpc>
                <a:spcPct val="105000"/>
              </a:lnSpc>
              <a:tabLst/>
              <a:defRPr sz="2700"/>
            </a:lvl3pPr>
            <a:lvl4pPr>
              <a:lnSpc>
                <a:spcPct val="105000"/>
              </a:lnSpc>
              <a:defRPr sz="2700"/>
            </a:lvl4pPr>
            <a:lvl5pPr>
              <a:lnSpc>
                <a:spcPct val="105000"/>
              </a:lnSpc>
              <a:defRPr sz="2700"/>
            </a:lvl5pPr>
          </a:lstStyle>
          <a:p>
            <a:pPr lvl="0"/>
            <a:r>
              <a:rPr lang="da-DK" dirty="0"/>
              <a:t>Klik for at tilføje tekst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114218D-5387-4BC8-84C8-CC431AF9AAE6}" type="datetime2">
              <a:rPr lang="da-DK" smtClean="0"/>
              <a:t>1. juli 2026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nformationer om Gældsstyrelse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0477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DE8414-C012-0505-5E55-28EFEB20AD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A9131A69-C17A-3139-4380-8A99E73D9F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89880-3D82-995F-5AE8-4F79AC1A5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19DBD-4B10-4F8F-8781-00172364FA8D}" type="datetimeFigureOut">
              <a:rPr lang="da-DK" smtClean="0"/>
              <a:t>01-07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5B3905B-0F57-42DC-FDAF-0BB46966D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46C1D72-4924-DD87-672D-4E864BCB9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2F2E5-CAE7-4A5A-9E8F-26A67BA9DBF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26773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+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5375275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5375276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539749" y="1818000"/>
            <a:ext cx="5375276" cy="4282763"/>
          </a:xfrm>
        </p:spPr>
        <p:txBody>
          <a:bodyPr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0"/>
            <a:ext cx="5916612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mplementeringsmøde med berørte kontorchefer 26/8-2022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369F211-FDD1-4E92-95B5-71B9EC979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CC22A2C9-7474-4197-B145-F14336033C93}" type="datetime2">
              <a:rPr lang="da-DK" smtClean="0"/>
              <a:t>1. juli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79205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spalter A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539749" y="1818000"/>
            <a:ext cx="5375276" cy="4282763"/>
          </a:xfrm>
        </p:spPr>
        <p:txBody>
          <a:bodyPr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71663"/>
            <a:ext cx="5373686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3968A7C-EB71-4AB0-8F87-024B303C6C8B}" type="datetime2">
              <a:rPr lang="da-DK" smtClean="0"/>
              <a:t>1. juli 2026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Implementeringsmøde med berørte kontorchefer 9/9-2022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06360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7526" y="1871663"/>
            <a:ext cx="7321550" cy="42291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</a:lstStyle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97850" y="1871663"/>
            <a:ext cx="3478212" cy="4229100"/>
          </a:xfrm>
          <a:solidFill>
            <a:schemeClr val="bg2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/>
              <a:t>Klik på ikonet for at tilføje billede eller grafik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A84ECD2C-8316-A283-51EF-0BD159695C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A4384B3-1E26-4265-9925-C5677D617C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591138"/>
            <a:ext cx="11160123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6DFBC57-181C-4112-BBF8-BF48BA8F22B3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8" y="1114425"/>
            <a:ext cx="11160125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3057166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8" y="1485900"/>
            <a:ext cx="5399087" cy="4614863"/>
          </a:xfrm>
        </p:spPr>
        <p:txBody>
          <a:bodyPr anchor="ctr" anchorCtr="0"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 </a:t>
            </a:r>
          </a:p>
          <a:p>
            <a:pPr lvl="0"/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6977" y="0"/>
            <a:ext cx="5915024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/>
              <a:t>Klik på ikonet for at tilføje billede eller graf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1A64F4A-17F3-4B38-5937-934026CC56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42C8DD-894E-4FF0-B871-6953E8643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591138"/>
            <a:ext cx="5399086" cy="894762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6" name="Undertitel 9">
            <a:extLst>
              <a:ext uri="{FF2B5EF4-FFF2-40B4-BE49-F238E27FC236}">
                <a16:creationId xmlns:a16="http://schemas.microsoft.com/office/drawing/2014/main" id="{4FC3068F-44E1-488C-8B08-0644910DBDF7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520698" y="1153837"/>
            <a:ext cx="5394326" cy="435525"/>
          </a:xfrm>
        </p:spPr>
        <p:txBody>
          <a:bodyPr lIns="3600"/>
          <a:lstStyle/>
          <a:p>
            <a:r>
              <a:rPr lang="da-DK"/>
              <a:t>Klik for at redigere under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05233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(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7" y="1871662"/>
            <a:ext cx="5399088" cy="4229101"/>
          </a:xfrm>
        </p:spPr>
        <p:txBody>
          <a:bodyPr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5388" y="1871662"/>
            <a:ext cx="5399088" cy="4229099"/>
          </a:xfrm>
        </p:spPr>
        <p:txBody>
          <a:bodyPr/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87C8F435-BA45-DE44-1B33-39FA5B018E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5A10D8A-6C0A-4B9B-B522-077A37DC3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525" y="591138"/>
            <a:ext cx="11158538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D2D1D5C-1BD6-4C98-933F-DA0FA216E50D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7" y="1114425"/>
            <a:ext cx="11158537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2729357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r (tekstbo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15937" y="1871662"/>
            <a:ext cx="3478213" cy="4229101"/>
          </a:xfrm>
          <a:solidFill>
            <a:srgbClr val="E8E2E1"/>
          </a:solidFill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52926" y="1871662"/>
            <a:ext cx="3486149" cy="4229099"/>
          </a:xfrm>
          <a:solidFill>
            <a:srgbClr val="D0D0D8"/>
          </a:solidFill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87C8F435-BA45-DE44-1B33-39FA5B018E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5A10D8A-6C0A-4B9B-B522-077A37DC3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525" y="591138"/>
            <a:ext cx="11158538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D2D1D5C-1BD6-4C98-933F-DA0FA216E50D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7" y="1114425"/>
            <a:ext cx="11158537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  <p:sp>
        <p:nvSpPr>
          <p:cNvPr id="2" name="Content Placeholder 13">
            <a:extLst>
              <a:ext uri="{FF2B5EF4-FFF2-40B4-BE49-F238E27FC236}">
                <a16:creationId xmlns:a16="http://schemas.microsoft.com/office/drawing/2014/main" id="{C64866B3-E2EB-A3DE-E45E-1E44D448B04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97850" y="1871661"/>
            <a:ext cx="3476624" cy="4229099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 anchor="t" anchorCtr="0">
            <a:noAutofit/>
          </a:bodyPr>
          <a:lstStyle/>
          <a:p>
            <a:pPr lvl="0"/>
            <a:r>
              <a:rPr lang="da-DK"/>
              <a:t>Klik for at tilføje tekst eller klik på tabel-/graf-/</a:t>
            </a:r>
            <a:r>
              <a:rPr lang="da-DK" err="1"/>
              <a:t>SmartArt</a:t>
            </a:r>
            <a:r>
              <a:rPr lang="da-DK"/>
              <a:t>- eller video-ikon for at indsætte objekt.</a:t>
            </a:r>
          </a:p>
          <a:p>
            <a:pPr lvl="0"/>
            <a:r>
              <a:rPr lang="da-DK"/>
              <a:t> </a:t>
            </a:r>
            <a:endParaRPr lang="da-DK" noProof="0"/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</p:txBody>
      </p:sp>
    </p:spTree>
    <p:extLst>
      <p:ext uri="{BB962C8B-B14F-4D97-AF65-F5344CB8AC3E}">
        <p14:creationId xmlns:p14="http://schemas.microsoft.com/office/powerpoint/2010/main" val="3479769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EE6EF2C6-A9BA-944D-0B64-B7D54687B3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A098580-2E19-41FF-81A3-7D158A762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91138"/>
            <a:ext cx="11160123" cy="523287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tilføje titel</a:t>
            </a:r>
            <a:endParaRPr lang="da-DK" noProof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7B44483-F5A0-4041-81E5-5A25A32E930F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15938" y="1114425"/>
            <a:ext cx="11160123" cy="37500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tilføje underoverskrift i en linje</a:t>
            </a:r>
          </a:p>
        </p:txBody>
      </p:sp>
    </p:spTree>
    <p:extLst>
      <p:ext uri="{BB962C8B-B14F-4D97-AF65-F5344CB8AC3E}">
        <p14:creationId xmlns:p14="http://schemas.microsoft.com/office/powerpoint/2010/main" val="73059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9FCC3B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med agenda status">
    <p:bg>
      <p:bgPr>
        <a:solidFill>
          <a:srgbClr val="141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814665"/>
            <a:ext cx="11160125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4656D22-6934-1A6E-9FFE-4C0FD81DB5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5" name="Billede 4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ABAC84CE-331C-9963-B00C-DC5B55E9D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1DF8CFB1-4D38-4385-BA30-DD99E4C530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12836" y="3041059"/>
            <a:ext cx="4039199" cy="3163997"/>
          </a:xfrm>
          <a:custGeom>
            <a:avLst/>
            <a:gdLst>
              <a:gd name="connsiteX0" fmla="*/ 1345969 w 4039199"/>
              <a:gd name="connsiteY0" fmla="*/ 2893942 h 3163997"/>
              <a:gd name="connsiteX1" fmla="*/ 2693230 w 4039199"/>
              <a:gd name="connsiteY1" fmla="*/ 2893942 h 3163997"/>
              <a:gd name="connsiteX2" fmla="*/ 2693230 w 4039199"/>
              <a:gd name="connsiteY2" fmla="*/ 3163997 h 3163997"/>
              <a:gd name="connsiteX3" fmla="*/ 1345969 w 4039199"/>
              <a:gd name="connsiteY3" fmla="*/ 3163997 h 3163997"/>
              <a:gd name="connsiteX4" fmla="*/ 0 w 4039199"/>
              <a:gd name="connsiteY4" fmla="*/ 2082914 h 3163997"/>
              <a:gd name="connsiteX5" fmla="*/ 1345969 w 4039199"/>
              <a:gd name="connsiteY5" fmla="*/ 2082914 h 3163997"/>
              <a:gd name="connsiteX6" fmla="*/ 1345969 w 4039199"/>
              <a:gd name="connsiteY6" fmla="*/ 2352969 h 3163997"/>
              <a:gd name="connsiteX7" fmla="*/ 0 w 4039199"/>
              <a:gd name="connsiteY7" fmla="*/ 2352969 h 3163997"/>
              <a:gd name="connsiteX8" fmla="*/ 2693231 w 4039199"/>
              <a:gd name="connsiteY8" fmla="*/ 0 h 3163997"/>
              <a:gd name="connsiteX9" fmla="*/ 4039199 w 4039199"/>
              <a:gd name="connsiteY9" fmla="*/ 0 h 3163997"/>
              <a:gd name="connsiteX10" fmla="*/ 4039199 w 4039199"/>
              <a:gd name="connsiteY10" fmla="*/ 269625 h 3163997"/>
              <a:gd name="connsiteX11" fmla="*/ 2693231 w 4039199"/>
              <a:gd name="connsiteY11" fmla="*/ 269625 h 316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199" h="3163997">
                <a:moveTo>
                  <a:pt x="1345969" y="2893942"/>
                </a:moveTo>
                <a:lnTo>
                  <a:pt x="2693230" y="2893942"/>
                </a:lnTo>
                <a:lnTo>
                  <a:pt x="2693230" y="3163997"/>
                </a:lnTo>
                <a:lnTo>
                  <a:pt x="1345969" y="3163997"/>
                </a:lnTo>
                <a:close/>
                <a:moveTo>
                  <a:pt x="0" y="2082914"/>
                </a:moveTo>
                <a:lnTo>
                  <a:pt x="1345969" y="2082914"/>
                </a:lnTo>
                <a:lnTo>
                  <a:pt x="1345969" y="2352969"/>
                </a:lnTo>
                <a:lnTo>
                  <a:pt x="0" y="2352969"/>
                </a:lnTo>
                <a:close/>
                <a:moveTo>
                  <a:pt x="2693231" y="0"/>
                </a:moveTo>
                <a:lnTo>
                  <a:pt x="4039199" y="0"/>
                </a:lnTo>
                <a:lnTo>
                  <a:pt x="4039199" y="269625"/>
                </a:lnTo>
                <a:lnTo>
                  <a:pt x="2693231" y="269625"/>
                </a:lnTo>
                <a:close/>
              </a:path>
            </a:pathLst>
          </a:custGeom>
          <a:solidFill>
            <a:srgbClr val="FF620C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922525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/Opsummering flere linjer">
    <p:bg>
      <p:bgPr>
        <a:solidFill>
          <a:srgbClr val="141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933" y="647701"/>
            <a:ext cx="11160126" cy="3069331"/>
          </a:xfrm>
        </p:spPr>
        <p:txBody>
          <a:bodyPr anchor="b">
            <a:normAutofit/>
          </a:bodyPr>
          <a:lstStyle>
            <a:lvl1pPr algn="ctr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Skilles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8" y="4077072"/>
            <a:ext cx="11160125" cy="876098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/>
              <a:t>Skriv evt. supplerende tekst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3437C85-11E7-4643-F095-081979FADB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6" name="Billede 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899E25CA-CC7E-2051-6002-53770567C8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021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6C8519-AFF8-3EDB-61ED-14CD96F828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02062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6C8519-AFF8-3EDB-61ED-14CD96F82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99" y="591138"/>
            <a:ext cx="11157663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8400" y="1871663"/>
            <a:ext cx="11160125" cy="4230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.</a:t>
            </a:r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D9DA0217-DDBA-42D8-BFEA-C711061869D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A61A5F-B6DF-45B8-896B-33FF532A5490}"/>
                </a:ext>
              </a:extLst>
            </p:cNvPr>
            <p:cNvSpPr/>
            <p:nvPr userDrawn="1"/>
          </p:nvSpPr>
          <p:spPr>
            <a:xfrm>
              <a:off x="0" y="0"/>
              <a:ext cx="540000" cy="6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45933D-D26B-4871-9F0D-F4CC697CA5CF}"/>
                </a:ext>
              </a:extLst>
            </p:cNvPr>
            <p:cNvSpPr/>
            <p:nvPr userDrawn="1"/>
          </p:nvSpPr>
          <p:spPr>
            <a:xfrm>
              <a:off x="11652000" y="6102000"/>
              <a:ext cx="54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F98958-2557-4BE5-95DA-04CE7AEF4586}"/>
                </a:ext>
              </a:extLst>
            </p:cNvPr>
            <p:cNvSpPr/>
            <p:nvPr userDrawn="1"/>
          </p:nvSpPr>
          <p:spPr>
            <a:xfrm flipV="1">
              <a:off x="1136000" y="1115999"/>
              <a:ext cx="36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DD6A944-E535-4B7C-B906-9F3806682A31}"/>
                </a:ext>
              </a:extLst>
            </p:cNvPr>
            <p:cNvSpPr/>
            <p:nvPr userDrawn="1"/>
          </p:nvSpPr>
          <p:spPr>
            <a:xfrm flipV="1">
              <a:off x="209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DAD70B-D79A-4858-851E-7B49F1F95198}"/>
                </a:ext>
              </a:extLst>
            </p:cNvPr>
            <p:cNvSpPr/>
            <p:nvPr userDrawn="1"/>
          </p:nvSpPr>
          <p:spPr>
            <a:xfrm flipV="1">
              <a:off x="304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8B331D0-FEB9-4D2D-8004-762C2E119007}"/>
                </a:ext>
              </a:extLst>
            </p:cNvPr>
            <p:cNvSpPr/>
            <p:nvPr userDrawn="1"/>
          </p:nvSpPr>
          <p:spPr>
            <a:xfrm flipV="1">
              <a:off x="400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5949D6-F9B8-4C31-9E7D-D7A8658AEE36}"/>
                </a:ext>
              </a:extLst>
            </p:cNvPr>
            <p:cNvSpPr/>
            <p:nvPr userDrawn="1"/>
          </p:nvSpPr>
          <p:spPr>
            <a:xfrm flipV="1">
              <a:off x="496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ED0853-D766-41A3-82DC-907300F2E4F9}"/>
                </a:ext>
              </a:extLst>
            </p:cNvPr>
            <p:cNvSpPr/>
            <p:nvPr userDrawn="1"/>
          </p:nvSpPr>
          <p:spPr>
            <a:xfrm flipV="1">
              <a:off x="591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906748-FD2B-4C9F-8C47-188489A17A75}"/>
                </a:ext>
              </a:extLst>
            </p:cNvPr>
            <p:cNvSpPr/>
            <p:nvPr userDrawn="1"/>
          </p:nvSpPr>
          <p:spPr>
            <a:xfrm flipV="1">
              <a:off x="687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753919-057A-46F5-BAE9-8427341C6BF4}"/>
                </a:ext>
              </a:extLst>
            </p:cNvPr>
            <p:cNvSpPr/>
            <p:nvPr userDrawn="1"/>
          </p:nvSpPr>
          <p:spPr>
            <a:xfrm flipV="1">
              <a:off x="782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F0372E-1B27-48BB-8296-72A14978DC99}"/>
                </a:ext>
              </a:extLst>
            </p:cNvPr>
            <p:cNvSpPr/>
            <p:nvPr userDrawn="1"/>
          </p:nvSpPr>
          <p:spPr>
            <a:xfrm flipV="1">
              <a:off x="878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B14FB1-4F65-449B-8EEC-0D06182E37D0}"/>
                </a:ext>
              </a:extLst>
            </p:cNvPr>
            <p:cNvSpPr/>
            <p:nvPr userDrawn="1"/>
          </p:nvSpPr>
          <p:spPr>
            <a:xfrm flipV="1">
              <a:off x="974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C5217D4-9E07-420F-BDEF-B8FC8DD76716}"/>
                </a:ext>
              </a:extLst>
            </p:cNvPr>
            <p:cNvSpPr/>
            <p:nvPr userDrawn="1"/>
          </p:nvSpPr>
          <p:spPr>
            <a:xfrm flipV="1">
              <a:off x="1069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</p:grp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D5E8D499-BF45-4542-7A2D-1C3567526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91738" y="6429295"/>
            <a:ext cx="1584325" cy="1394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57" name="Billede 56" descr="Et billede, der indeholder tekst, lys&#10;&#10;Automatisk genereret beskrivelse">
            <a:extLst>
              <a:ext uri="{FF2B5EF4-FFF2-40B4-BE49-F238E27FC236}">
                <a16:creationId xmlns:a16="http://schemas.microsoft.com/office/drawing/2014/main" id="{46703405-D54C-5FF0-6075-0C5EE12C3E0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151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3" r:id="rId12"/>
  </p:sldLayoutIdLst>
  <p:hf hdr="0" ft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Academy Sans Office Black" panose="020B0503030000000000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1pPr>
      <a:lvl2pPr marL="217488" indent="-217488" algn="l" defTabSz="432000" rtl="0" eaLnBrk="1" latinLnBrk="0" hangingPunct="1">
        <a:lnSpc>
          <a:spcPct val="111000"/>
        </a:lnSpc>
        <a:spcBef>
          <a:spcPts val="600"/>
        </a:spcBef>
        <a:spcAft>
          <a:spcPts val="0"/>
        </a:spcAft>
        <a:buSzPct val="100000"/>
        <a:buFont typeface="Academy Sans Office" panose="020B0503030000000000" pitchFamily="34" charset="0"/>
        <a:buChar char="•"/>
        <a:tabLst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1000"/>
        </a:lnSpc>
        <a:spcBef>
          <a:spcPts val="0"/>
        </a:spcBef>
        <a:buFont typeface="Academy Sans Office" panose="020B0503030000000000" pitchFamily="34" charset="0"/>
        <a:buChar char="-"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1000"/>
        </a:lnSpc>
        <a:spcBef>
          <a:spcPts val="0"/>
        </a:spcBef>
        <a:buClrTx/>
        <a:buSzPct val="100000"/>
        <a:buFont typeface="Academy Sans Office" panose="020B0503030000000000" pitchFamily="34" charset="0"/>
        <a:buChar char="•"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4pPr>
      <a:lvl5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20000"/>
        <a:buFont typeface="Normal systemskrift"/>
        <a:buChar char="●"/>
        <a:tabLst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5pPr>
      <a:lvl6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20000"/>
        <a:buFont typeface="Zapf Dingbats"/>
        <a:buChar char="✚"/>
        <a:tabLst/>
        <a:defRPr lang="da-DK" sz="1500" b="0" i="0" kern="1200" spc="0" baseline="0" noProof="0" dirty="0" smtClean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6pPr>
      <a:lvl7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40000"/>
        <a:buFont typeface="Academy Sans Office Extrabold" panose="020B0503030000000000" pitchFamily="34" charset="0"/>
        <a:buChar char="→"/>
        <a:tabLst/>
        <a:defRPr lang="da-DK" sz="1500" b="0" i="0" kern="1200" spc="0" baseline="0" noProof="0" dirty="0" smtClean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86000"/>
        </a:lnSpc>
        <a:spcBef>
          <a:spcPts val="0"/>
        </a:spcBef>
        <a:buFont typeface="Arial" panose="020B0604020202020204" pitchFamily="34" charset="0"/>
        <a:buChar char="​"/>
        <a:tabLst/>
        <a:defRPr lang="en-GB" sz="900" b="0" kern="1200" spc="1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3000" kern="1200" baseline="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00">
          <p15:clr>
            <a:srgbClr val="F26B43"/>
          </p15:clr>
        </p15:guide>
        <p15:guide id="2" pos="1534">
          <p15:clr>
            <a:srgbClr val="F26B43"/>
          </p15:clr>
        </p15:guide>
        <p15:guide id="3" orient="horz" pos="4126">
          <p15:clr>
            <a:srgbClr val="547EBF"/>
          </p15:clr>
        </p15:guide>
        <p15:guide id="5" pos="1912">
          <p15:clr>
            <a:srgbClr val="F26B43"/>
          </p15:clr>
        </p15:guide>
        <p15:guide id="7" pos="2516">
          <p15:clr>
            <a:srgbClr val="F26B43"/>
          </p15:clr>
        </p15:guide>
        <p15:guide id="8" pos="2742">
          <p15:clr>
            <a:srgbClr val="F26B43"/>
          </p15:clr>
        </p15:guide>
        <p15:guide id="9" pos="3122">
          <p15:clr>
            <a:srgbClr val="F26B43"/>
          </p15:clr>
        </p15:guide>
        <p15:guide id="10" pos="3348">
          <p15:clr>
            <a:srgbClr val="F26B43"/>
          </p15:clr>
        </p15:guide>
        <p15:guide id="11" pos="3726">
          <p15:clr>
            <a:srgbClr val="547EBF"/>
          </p15:clr>
        </p15:guide>
        <p15:guide id="12" pos="3954">
          <p15:clr>
            <a:srgbClr val="547EBF"/>
          </p15:clr>
        </p15:guide>
        <p15:guide id="13" pos="4332">
          <p15:clr>
            <a:srgbClr val="F26B43"/>
          </p15:clr>
        </p15:guide>
        <p15:guide id="14" pos="4560">
          <p15:clr>
            <a:srgbClr val="F26B43"/>
          </p15:clr>
        </p15:guide>
        <p15:guide id="15" pos="4938">
          <p15:clr>
            <a:srgbClr val="F26B43"/>
          </p15:clr>
        </p15:guide>
        <p15:guide id="16" pos="5164">
          <p15:clr>
            <a:srgbClr val="F26B43"/>
          </p15:clr>
        </p15:guide>
        <p15:guide id="17" pos="5542">
          <p15:clr>
            <a:srgbClr val="F26B43"/>
          </p15:clr>
        </p15:guide>
        <p15:guide id="18" pos="5768">
          <p15:clr>
            <a:srgbClr val="F26B43"/>
          </p15:clr>
        </p15:guide>
        <p15:guide id="19" pos="6146">
          <p15:clr>
            <a:srgbClr val="F26B43"/>
          </p15:clr>
        </p15:guide>
        <p15:guide id="20" pos="6374">
          <p15:clr>
            <a:srgbClr val="F26B43"/>
          </p15:clr>
        </p15:guide>
        <p15:guide id="21" pos="6752">
          <p15:clr>
            <a:srgbClr val="F26B43"/>
          </p15:clr>
        </p15:guide>
        <p15:guide id="22" pos="6980">
          <p15:clr>
            <a:srgbClr val="F26B43"/>
          </p15:clr>
        </p15:guide>
        <p15:guide id="23" pos="702">
          <p15:clr>
            <a:srgbClr val="F26B43"/>
          </p15:clr>
        </p15:guide>
        <p15:guide id="24" pos="928">
          <p15:clr>
            <a:srgbClr val="F26B43"/>
          </p15:clr>
        </p15:guide>
        <p15:guide id="25" orient="horz" pos="702">
          <p15:clr>
            <a:srgbClr val="F26B43"/>
          </p15:clr>
        </p15:guide>
        <p15:guide id="26" orient="horz" pos="1179">
          <p15:clr>
            <a:srgbClr val="547EBF"/>
          </p15:clr>
        </p15:guide>
        <p15:guide id="30" orient="horz" pos="408">
          <p15:clr>
            <a:srgbClr val="547EBF"/>
          </p15:clr>
        </p15:guide>
        <p15:guide id="31" pos="7355">
          <p15:clr>
            <a:srgbClr val="547EBF"/>
          </p15:clr>
        </p15:guide>
        <p15:guide id="32" orient="horz" pos="3843">
          <p15:clr>
            <a:srgbClr val="547EBF"/>
          </p15:clr>
        </p15:guide>
        <p15:guide id="33" pos="326">
          <p15:clr>
            <a:srgbClr val="547EBF"/>
          </p15:clr>
        </p15:guide>
        <p15:guide id="34" orient="horz" pos="1480">
          <p15:clr>
            <a:srgbClr val="9FCC3B"/>
          </p15:clr>
        </p15:guide>
        <p15:guide id="35" pos="21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6C8519-AFF8-3EDB-61ED-14CD96F828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02062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6C8519-AFF8-3EDB-61ED-14CD96F82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99" y="591138"/>
            <a:ext cx="11157663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8400" y="1871663"/>
            <a:ext cx="11160125" cy="4230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.</a:t>
            </a:r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</a:t>
            </a:r>
          </a:p>
          <a:p>
            <a:pPr lvl="4"/>
            <a:r>
              <a:rPr lang="da-DK" noProof="0"/>
              <a:t>Niveau 5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</a:t>
            </a:r>
          </a:p>
          <a:p>
            <a:pPr lvl="7"/>
            <a:r>
              <a:rPr lang="da-DK" noProof="0"/>
              <a:t>Niveau 8 kan bruges til billedtekster</a:t>
            </a:r>
          </a:p>
          <a:p>
            <a:pPr lvl="8"/>
            <a:r>
              <a:rPr lang="da-DK" noProof="0"/>
              <a:t>Niveau 9 stor tal fx procenter %</a:t>
            </a:r>
            <a:endParaRPr lang="en-GB" noProof="0"/>
          </a:p>
        </p:txBody>
      </p:sp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D9DA0217-DDBA-42D8-BFEA-C711061869D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A61A5F-B6DF-45B8-896B-33FF532A5490}"/>
                </a:ext>
              </a:extLst>
            </p:cNvPr>
            <p:cNvSpPr/>
            <p:nvPr userDrawn="1"/>
          </p:nvSpPr>
          <p:spPr>
            <a:xfrm>
              <a:off x="0" y="0"/>
              <a:ext cx="540000" cy="6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45933D-D26B-4871-9F0D-F4CC697CA5CF}"/>
                </a:ext>
              </a:extLst>
            </p:cNvPr>
            <p:cNvSpPr/>
            <p:nvPr userDrawn="1"/>
          </p:nvSpPr>
          <p:spPr>
            <a:xfrm>
              <a:off x="11652000" y="6102000"/>
              <a:ext cx="54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F98958-2557-4BE5-95DA-04CE7AEF4586}"/>
                </a:ext>
              </a:extLst>
            </p:cNvPr>
            <p:cNvSpPr/>
            <p:nvPr userDrawn="1"/>
          </p:nvSpPr>
          <p:spPr>
            <a:xfrm flipV="1">
              <a:off x="1136000" y="1115999"/>
              <a:ext cx="36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DD6A944-E535-4B7C-B906-9F3806682A31}"/>
                </a:ext>
              </a:extLst>
            </p:cNvPr>
            <p:cNvSpPr/>
            <p:nvPr userDrawn="1"/>
          </p:nvSpPr>
          <p:spPr>
            <a:xfrm flipV="1">
              <a:off x="209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DAD70B-D79A-4858-851E-7B49F1F95198}"/>
                </a:ext>
              </a:extLst>
            </p:cNvPr>
            <p:cNvSpPr/>
            <p:nvPr userDrawn="1"/>
          </p:nvSpPr>
          <p:spPr>
            <a:xfrm flipV="1">
              <a:off x="304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8B331D0-FEB9-4D2D-8004-762C2E119007}"/>
                </a:ext>
              </a:extLst>
            </p:cNvPr>
            <p:cNvSpPr/>
            <p:nvPr userDrawn="1"/>
          </p:nvSpPr>
          <p:spPr>
            <a:xfrm flipV="1">
              <a:off x="400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5949D6-F9B8-4C31-9E7D-D7A8658AEE36}"/>
                </a:ext>
              </a:extLst>
            </p:cNvPr>
            <p:cNvSpPr/>
            <p:nvPr userDrawn="1"/>
          </p:nvSpPr>
          <p:spPr>
            <a:xfrm flipV="1">
              <a:off x="496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ED0853-D766-41A3-82DC-907300F2E4F9}"/>
                </a:ext>
              </a:extLst>
            </p:cNvPr>
            <p:cNvSpPr/>
            <p:nvPr userDrawn="1"/>
          </p:nvSpPr>
          <p:spPr>
            <a:xfrm flipV="1">
              <a:off x="591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906748-FD2B-4C9F-8C47-188489A17A75}"/>
                </a:ext>
              </a:extLst>
            </p:cNvPr>
            <p:cNvSpPr/>
            <p:nvPr userDrawn="1"/>
          </p:nvSpPr>
          <p:spPr>
            <a:xfrm flipV="1">
              <a:off x="687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753919-057A-46F5-BAE9-8427341C6BF4}"/>
                </a:ext>
              </a:extLst>
            </p:cNvPr>
            <p:cNvSpPr/>
            <p:nvPr userDrawn="1"/>
          </p:nvSpPr>
          <p:spPr>
            <a:xfrm flipV="1">
              <a:off x="782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F0372E-1B27-48BB-8296-72A14978DC99}"/>
                </a:ext>
              </a:extLst>
            </p:cNvPr>
            <p:cNvSpPr/>
            <p:nvPr userDrawn="1"/>
          </p:nvSpPr>
          <p:spPr>
            <a:xfrm flipV="1">
              <a:off x="878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B14FB1-4F65-449B-8EEC-0D06182E37D0}"/>
                </a:ext>
              </a:extLst>
            </p:cNvPr>
            <p:cNvSpPr/>
            <p:nvPr userDrawn="1"/>
          </p:nvSpPr>
          <p:spPr>
            <a:xfrm flipV="1">
              <a:off x="974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C5217D4-9E07-420F-BDEF-B8FC8DD76716}"/>
                </a:ext>
              </a:extLst>
            </p:cNvPr>
            <p:cNvSpPr/>
            <p:nvPr userDrawn="1"/>
          </p:nvSpPr>
          <p:spPr>
            <a:xfrm flipV="1">
              <a:off x="1069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b="0" i="0" noProof="0" err="1">
                <a:latin typeface="Academy Sans Office" panose="020B0503030000000000" pitchFamily="34" charset="0"/>
              </a:endParaRPr>
            </a:p>
          </p:txBody>
        </p:sp>
      </p:grp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D5E8D499-BF45-4542-7A2D-1C3567526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91738" y="6429295"/>
            <a:ext cx="1584325" cy="1394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>
                <a:latin typeface="Academy Sans Office" panose="020B0503030000000000" pitchFamily="34" charset="0"/>
              </a:rPr>
              <a:pPr/>
              <a:t>‹nr.›</a:t>
            </a:fld>
            <a:endParaRPr lang="da-DK">
              <a:latin typeface="Academy Sans Office" panose="020B0503030000000000" pitchFamily="34" charset="0"/>
            </a:endParaRPr>
          </a:p>
        </p:txBody>
      </p:sp>
      <p:pic>
        <p:nvPicPr>
          <p:cNvPr id="57" name="Billede 56" descr="Et billede, der indeholder tekst, lys&#10;&#10;Automatisk genereret beskrivelse">
            <a:extLst>
              <a:ext uri="{FF2B5EF4-FFF2-40B4-BE49-F238E27FC236}">
                <a16:creationId xmlns:a16="http://schemas.microsoft.com/office/drawing/2014/main" id="{46703405-D54C-5FF0-6075-0C5EE12C3E0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00" y="6379200"/>
            <a:ext cx="176784" cy="164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96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hf hdr="0" ft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Academy Sans Office Black" panose="020B0503030000000000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1pPr>
      <a:lvl2pPr marL="217488" indent="-217488" algn="l" defTabSz="432000" rtl="0" eaLnBrk="1" latinLnBrk="0" hangingPunct="1">
        <a:lnSpc>
          <a:spcPct val="111000"/>
        </a:lnSpc>
        <a:spcBef>
          <a:spcPts val="600"/>
        </a:spcBef>
        <a:spcAft>
          <a:spcPts val="0"/>
        </a:spcAft>
        <a:buSzPct val="100000"/>
        <a:buFont typeface="Academy Sans Office" panose="020B0503030000000000" pitchFamily="34" charset="0"/>
        <a:buChar char="•"/>
        <a:tabLst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1000"/>
        </a:lnSpc>
        <a:spcBef>
          <a:spcPts val="0"/>
        </a:spcBef>
        <a:buFont typeface="Academy Sans Office" panose="020B0503030000000000" pitchFamily="34" charset="0"/>
        <a:buChar char="-"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1000"/>
        </a:lnSpc>
        <a:spcBef>
          <a:spcPts val="0"/>
        </a:spcBef>
        <a:buClrTx/>
        <a:buSzPct val="100000"/>
        <a:buFont typeface="Academy Sans Office" panose="020B0503030000000000" pitchFamily="34" charset="0"/>
        <a:buChar char="•"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4pPr>
      <a:lvl5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20000"/>
        <a:buFont typeface="Normal systemskrift"/>
        <a:buChar char="●"/>
        <a:tabLst/>
        <a:defRPr sz="1500" b="0" i="0" kern="1200" spc="0" baseline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5pPr>
      <a:lvl6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20000"/>
        <a:buFont typeface="Zapf Dingbats"/>
        <a:buChar char="✚"/>
        <a:tabLst/>
        <a:defRPr lang="da-DK" sz="1500" b="0" i="0" kern="1200" spc="0" baseline="0" noProof="0" dirty="0" smtClean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6pPr>
      <a:lvl7pPr marL="431800" indent="-431800" algn="l" defTabSz="914400" rtl="0" eaLnBrk="1" latinLnBrk="0" hangingPunct="1">
        <a:lnSpc>
          <a:spcPct val="111000"/>
        </a:lnSpc>
        <a:spcBef>
          <a:spcPts val="600"/>
        </a:spcBef>
        <a:buClr>
          <a:schemeClr val="accent4"/>
        </a:buClr>
        <a:buSzPct val="140000"/>
        <a:buFont typeface="Academy Sans Office Extrabold" panose="020B0503030000000000" pitchFamily="34" charset="0"/>
        <a:buChar char="→"/>
        <a:tabLst/>
        <a:defRPr lang="da-DK" sz="1500" b="0" i="0" kern="1200" spc="0" baseline="0" noProof="0" dirty="0" smtClean="0">
          <a:solidFill>
            <a:schemeClr val="tx1"/>
          </a:solidFill>
          <a:latin typeface="Academy Sans Office" panose="020B0503030000000000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86000"/>
        </a:lnSpc>
        <a:spcBef>
          <a:spcPts val="0"/>
        </a:spcBef>
        <a:buFont typeface="Arial" panose="020B0604020202020204" pitchFamily="34" charset="0"/>
        <a:buChar char="​"/>
        <a:tabLst/>
        <a:defRPr lang="en-GB" sz="900" b="0" kern="1200" spc="1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3000" kern="1200" baseline="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00">
          <p15:clr>
            <a:srgbClr val="F26B43"/>
          </p15:clr>
        </p15:guide>
        <p15:guide id="2" pos="1534">
          <p15:clr>
            <a:srgbClr val="F26B43"/>
          </p15:clr>
        </p15:guide>
        <p15:guide id="3" orient="horz" pos="4126">
          <p15:clr>
            <a:srgbClr val="547EBF"/>
          </p15:clr>
        </p15:guide>
        <p15:guide id="5" pos="1912">
          <p15:clr>
            <a:srgbClr val="F26B43"/>
          </p15:clr>
        </p15:guide>
        <p15:guide id="7" pos="2516">
          <p15:clr>
            <a:srgbClr val="F26B43"/>
          </p15:clr>
        </p15:guide>
        <p15:guide id="8" pos="2742">
          <p15:clr>
            <a:srgbClr val="F26B43"/>
          </p15:clr>
        </p15:guide>
        <p15:guide id="9" pos="3122">
          <p15:clr>
            <a:srgbClr val="F26B43"/>
          </p15:clr>
        </p15:guide>
        <p15:guide id="10" pos="3348">
          <p15:clr>
            <a:srgbClr val="F26B43"/>
          </p15:clr>
        </p15:guide>
        <p15:guide id="11" pos="3726">
          <p15:clr>
            <a:srgbClr val="547EBF"/>
          </p15:clr>
        </p15:guide>
        <p15:guide id="12" pos="3954">
          <p15:clr>
            <a:srgbClr val="547EBF"/>
          </p15:clr>
        </p15:guide>
        <p15:guide id="13" pos="4332">
          <p15:clr>
            <a:srgbClr val="F26B43"/>
          </p15:clr>
        </p15:guide>
        <p15:guide id="14" pos="4560">
          <p15:clr>
            <a:srgbClr val="F26B43"/>
          </p15:clr>
        </p15:guide>
        <p15:guide id="15" pos="4938">
          <p15:clr>
            <a:srgbClr val="F26B43"/>
          </p15:clr>
        </p15:guide>
        <p15:guide id="16" pos="5164">
          <p15:clr>
            <a:srgbClr val="F26B43"/>
          </p15:clr>
        </p15:guide>
        <p15:guide id="17" pos="5542">
          <p15:clr>
            <a:srgbClr val="F26B43"/>
          </p15:clr>
        </p15:guide>
        <p15:guide id="18" pos="5768">
          <p15:clr>
            <a:srgbClr val="F26B43"/>
          </p15:clr>
        </p15:guide>
        <p15:guide id="19" pos="6146">
          <p15:clr>
            <a:srgbClr val="F26B43"/>
          </p15:clr>
        </p15:guide>
        <p15:guide id="20" pos="6374">
          <p15:clr>
            <a:srgbClr val="F26B43"/>
          </p15:clr>
        </p15:guide>
        <p15:guide id="21" pos="6752">
          <p15:clr>
            <a:srgbClr val="F26B43"/>
          </p15:clr>
        </p15:guide>
        <p15:guide id="22" pos="6980">
          <p15:clr>
            <a:srgbClr val="F26B43"/>
          </p15:clr>
        </p15:guide>
        <p15:guide id="23" pos="702">
          <p15:clr>
            <a:srgbClr val="F26B43"/>
          </p15:clr>
        </p15:guide>
        <p15:guide id="24" pos="928">
          <p15:clr>
            <a:srgbClr val="F26B43"/>
          </p15:clr>
        </p15:guide>
        <p15:guide id="25" orient="horz" pos="702">
          <p15:clr>
            <a:srgbClr val="F26B43"/>
          </p15:clr>
        </p15:guide>
        <p15:guide id="26" orient="horz" pos="1179">
          <p15:clr>
            <a:srgbClr val="547EBF"/>
          </p15:clr>
        </p15:guide>
        <p15:guide id="30" orient="horz" pos="408">
          <p15:clr>
            <a:srgbClr val="547EBF"/>
          </p15:clr>
        </p15:guide>
        <p15:guide id="31" pos="7355">
          <p15:clr>
            <a:srgbClr val="547EBF"/>
          </p15:clr>
        </p15:guide>
        <p15:guide id="32" orient="horz" pos="3843">
          <p15:clr>
            <a:srgbClr val="547EBF"/>
          </p15:clr>
        </p15:guide>
        <p15:guide id="33" pos="326">
          <p15:clr>
            <a:srgbClr val="547EBF"/>
          </p15:clr>
        </p15:guide>
        <p15:guide id="34" orient="horz" pos="1480">
          <p15:clr>
            <a:srgbClr val="9FCC3B"/>
          </p15:clr>
        </p15:guide>
        <p15:guide id="35" pos="21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rundet rektangel 5">
            <a:extLst>
              <a:ext uri="{FF2B5EF4-FFF2-40B4-BE49-F238E27FC236}">
                <a16:creationId xmlns:a16="http://schemas.microsoft.com/office/drawing/2014/main" id="{A79650C1-699F-1485-71F6-C0E447B02943}"/>
              </a:ext>
            </a:extLst>
          </p:cNvPr>
          <p:cNvSpPr/>
          <p:nvPr/>
        </p:nvSpPr>
        <p:spPr>
          <a:xfrm>
            <a:off x="216000" y="1549330"/>
            <a:ext cx="1296000" cy="255467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7" name="Afrundet rektangel 28">
            <a:extLst>
              <a:ext uri="{FF2B5EF4-FFF2-40B4-BE49-F238E27FC236}">
                <a16:creationId xmlns:a16="http://schemas.microsoft.com/office/drawing/2014/main" id="{0968E003-91C2-41F1-8B4D-A49BF34EBAFF}"/>
              </a:ext>
            </a:extLst>
          </p:cNvPr>
          <p:cNvSpPr>
            <a:spLocks/>
          </p:cNvSpPr>
          <p:nvPr/>
        </p:nvSpPr>
        <p:spPr>
          <a:xfrm>
            <a:off x="289470" y="2086641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Ledelsessekretariat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og Pres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0" name="Afrundet rektangel 28">
            <a:extLst>
              <a:ext uri="{FF2B5EF4-FFF2-40B4-BE49-F238E27FC236}">
                <a16:creationId xmlns:a16="http://schemas.microsoft.com/office/drawing/2014/main" id="{8ACE1D9F-6109-46E7-907E-C64C63B42037}"/>
              </a:ext>
            </a:extLst>
          </p:cNvPr>
          <p:cNvSpPr/>
          <p:nvPr/>
        </p:nvSpPr>
        <p:spPr>
          <a:xfrm>
            <a:off x="288000" y="2783456"/>
            <a:ext cx="1152000" cy="241401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Økonomi og Analyser</a:t>
            </a:r>
          </a:p>
        </p:txBody>
      </p:sp>
      <p:sp>
        <p:nvSpPr>
          <p:cNvPr id="11" name="Afrundet rektangel 28">
            <a:extLst>
              <a:ext uri="{FF2B5EF4-FFF2-40B4-BE49-F238E27FC236}">
                <a16:creationId xmlns:a16="http://schemas.microsoft.com/office/drawing/2014/main" id="{DEE4560C-40B8-444E-B1A2-965685106B75}"/>
              </a:ext>
            </a:extLst>
          </p:cNvPr>
          <p:cNvSpPr/>
          <p:nvPr/>
        </p:nvSpPr>
        <p:spPr>
          <a:xfrm>
            <a:off x="289471" y="2448000"/>
            <a:ext cx="1152000" cy="288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HR og Kompetenceudvikling</a:t>
            </a:r>
          </a:p>
        </p:txBody>
      </p:sp>
      <p:sp>
        <p:nvSpPr>
          <p:cNvPr id="12" name="Afrundet rektangel 5">
            <a:extLst>
              <a:ext uri="{FF2B5EF4-FFF2-40B4-BE49-F238E27FC236}">
                <a16:creationId xmlns:a16="http://schemas.microsoft.com/office/drawing/2014/main" id="{44247063-C655-4898-8943-F43EFDC15880}"/>
              </a:ext>
            </a:extLst>
          </p:cNvPr>
          <p:cNvSpPr/>
          <p:nvPr/>
        </p:nvSpPr>
        <p:spPr>
          <a:xfrm>
            <a:off x="289471" y="1620000"/>
            <a:ext cx="115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t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Charlotte T. Laurits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3" name="Afrundet rektangel 28">
            <a:extLst>
              <a:ext uri="{FF2B5EF4-FFF2-40B4-BE49-F238E27FC236}">
                <a16:creationId xmlns:a16="http://schemas.microsoft.com/office/drawing/2014/main" id="{02A81FED-4EB4-422D-B32A-F7683FE11FEA}"/>
              </a:ext>
            </a:extLst>
          </p:cNvPr>
          <p:cNvSpPr/>
          <p:nvPr/>
        </p:nvSpPr>
        <p:spPr>
          <a:xfrm>
            <a:off x="289471" y="3075240"/>
            <a:ext cx="1152000" cy="41676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650" b="1" dirty="0">
              <a:solidFill>
                <a:srgbClr val="14143C"/>
              </a:solidFill>
              <a:latin typeface="Academy Sans Office" panose="020B0503030000000000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Jura og Compliance</a:t>
            </a:r>
            <a:endParaRPr kumimoji="0" lang="da-DK" sz="10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</p:txBody>
      </p:sp>
      <p:sp>
        <p:nvSpPr>
          <p:cNvPr id="4" name="Afrundet rektangel 5">
            <a:extLst>
              <a:ext uri="{FF2B5EF4-FFF2-40B4-BE49-F238E27FC236}">
                <a16:creationId xmlns:a16="http://schemas.microsoft.com/office/drawing/2014/main" id="{8C7C5FDD-BA3E-136C-CF63-8A6AF810FF48}"/>
              </a:ext>
            </a:extLst>
          </p:cNvPr>
          <p:cNvSpPr/>
          <p:nvPr/>
        </p:nvSpPr>
        <p:spPr>
          <a:xfrm>
            <a:off x="1584000" y="1549330"/>
            <a:ext cx="1296000" cy="237600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5" name="Afrundet rektangel 28">
            <a:extLst>
              <a:ext uri="{FF2B5EF4-FFF2-40B4-BE49-F238E27FC236}">
                <a16:creationId xmlns:a16="http://schemas.microsoft.com/office/drawing/2014/main" id="{00F6EB8C-6A33-4176-AE37-F6070EF92E92}"/>
              </a:ext>
            </a:extLst>
          </p:cNvPr>
          <p:cNvSpPr/>
          <p:nvPr/>
        </p:nvSpPr>
        <p:spPr>
          <a:xfrm>
            <a:off x="1656000" y="2086641"/>
            <a:ext cx="1152000" cy="50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trategi og Tværgående sty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6" name="Afrundet rektangel 5">
            <a:extLst>
              <a:ext uri="{FF2B5EF4-FFF2-40B4-BE49-F238E27FC236}">
                <a16:creationId xmlns:a16="http://schemas.microsoft.com/office/drawing/2014/main" id="{4A555CAB-318A-4F7F-867A-0DBBFBB2B260}"/>
              </a:ext>
            </a:extLst>
          </p:cNvPr>
          <p:cNvSpPr/>
          <p:nvPr/>
        </p:nvSpPr>
        <p:spPr>
          <a:xfrm>
            <a:off x="1656000" y="1620000"/>
            <a:ext cx="115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3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3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Trine Søberg</a:t>
            </a:r>
          </a:p>
        </p:txBody>
      </p:sp>
      <p:sp>
        <p:nvSpPr>
          <p:cNvPr id="22" name="Afrundet rektangel 28">
            <a:extLst>
              <a:ext uri="{FF2B5EF4-FFF2-40B4-BE49-F238E27FC236}">
                <a16:creationId xmlns:a16="http://schemas.microsoft.com/office/drawing/2014/main" id="{CBB6269E-3623-4F8E-90E9-B86F5D348786}"/>
              </a:ext>
            </a:extLst>
          </p:cNvPr>
          <p:cNvSpPr/>
          <p:nvPr/>
        </p:nvSpPr>
        <p:spPr>
          <a:xfrm>
            <a:off x="1656000" y="338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BB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6" name="Afrundet rektangel 5">
            <a:extLst>
              <a:ext uri="{FF2B5EF4-FFF2-40B4-BE49-F238E27FC236}">
                <a16:creationId xmlns:a16="http://schemas.microsoft.com/office/drawing/2014/main" id="{F3CD4428-DEBB-A431-D87A-F06C3A295915}"/>
              </a:ext>
            </a:extLst>
          </p:cNvPr>
          <p:cNvSpPr/>
          <p:nvPr/>
        </p:nvSpPr>
        <p:spPr>
          <a:xfrm>
            <a:off x="4320000" y="1549330"/>
            <a:ext cx="2520000" cy="414000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3" name="Afrundet rektangel 92">
            <a:extLst>
              <a:ext uri="{FF2B5EF4-FFF2-40B4-BE49-F238E27FC236}">
                <a16:creationId xmlns:a16="http://schemas.microsoft.com/office/drawing/2014/main" id="{BFB816D0-A08A-4176-AC63-E3AAF72EAB62}"/>
              </a:ext>
            </a:extLst>
          </p:cNvPr>
          <p:cNvSpPr/>
          <p:nvPr/>
        </p:nvSpPr>
        <p:spPr>
          <a:xfrm>
            <a:off x="4392000" y="3672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5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7" name="Afrundet rektangel 92">
            <a:extLst>
              <a:ext uri="{FF2B5EF4-FFF2-40B4-BE49-F238E27FC236}">
                <a16:creationId xmlns:a16="http://schemas.microsoft.com/office/drawing/2014/main" id="{F2FE204B-D0E5-42CC-A1C3-072DA8EFED82}"/>
              </a:ext>
            </a:extLst>
          </p:cNvPr>
          <p:cNvSpPr/>
          <p:nvPr/>
        </p:nvSpPr>
        <p:spPr>
          <a:xfrm>
            <a:off x="4392000" y="273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2</a:t>
            </a:r>
          </a:p>
        </p:txBody>
      </p:sp>
      <p:sp>
        <p:nvSpPr>
          <p:cNvPr id="38" name="Afrundet rektangel 92">
            <a:extLst>
              <a:ext uri="{FF2B5EF4-FFF2-40B4-BE49-F238E27FC236}">
                <a16:creationId xmlns:a16="http://schemas.microsoft.com/office/drawing/2014/main" id="{4BE391F3-9B09-429C-AD85-4C740635D525}"/>
              </a:ext>
            </a:extLst>
          </p:cNvPr>
          <p:cNvSpPr/>
          <p:nvPr/>
        </p:nvSpPr>
        <p:spPr>
          <a:xfrm>
            <a:off x="4392000" y="302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3</a:t>
            </a:r>
          </a:p>
        </p:txBody>
      </p:sp>
      <p:sp>
        <p:nvSpPr>
          <p:cNvPr id="39" name="Afrundet rektangel 92">
            <a:extLst>
              <a:ext uri="{FF2B5EF4-FFF2-40B4-BE49-F238E27FC236}">
                <a16:creationId xmlns:a16="http://schemas.microsoft.com/office/drawing/2014/main" id="{98EE8B13-494B-434B-BBAA-072AFF010452}"/>
              </a:ext>
            </a:extLst>
          </p:cNvPr>
          <p:cNvSpPr/>
          <p:nvPr/>
        </p:nvSpPr>
        <p:spPr>
          <a:xfrm>
            <a:off x="4392000" y="3312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45" name="Afrundet rektangel 92">
            <a:extLst>
              <a:ext uri="{FF2B5EF4-FFF2-40B4-BE49-F238E27FC236}">
                <a16:creationId xmlns:a16="http://schemas.microsoft.com/office/drawing/2014/main" id="{9B7C7EB4-6A8B-E7BA-FB67-4DC29F9D1CB0}"/>
              </a:ext>
            </a:extLst>
          </p:cNvPr>
          <p:cNvSpPr/>
          <p:nvPr/>
        </p:nvSpPr>
        <p:spPr>
          <a:xfrm>
            <a:off x="5616000" y="266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2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49" name="Afrundet rektangel 92">
            <a:extLst>
              <a:ext uri="{FF2B5EF4-FFF2-40B4-BE49-F238E27FC236}">
                <a16:creationId xmlns:a16="http://schemas.microsoft.com/office/drawing/2014/main" id="{DD1C8357-04DF-F5DD-5D16-B03705B04DA9}"/>
              </a:ext>
            </a:extLst>
          </p:cNvPr>
          <p:cNvSpPr/>
          <p:nvPr/>
        </p:nvSpPr>
        <p:spPr>
          <a:xfrm>
            <a:off x="5616000" y="2952000"/>
            <a:ext cx="1152000" cy="29174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3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25" name="Afrundet rektangel 92">
            <a:extLst>
              <a:ext uri="{FF2B5EF4-FFF2-40B4-BE49-F238E27FC236}">
                <a16:creationId xmlns:a16="http://schemas.microsoft.com/office/drawing/2014/main" id="{C237FACD-DF47-C1E6-57AF-45A2C64F8672}"/>
              </a:ext>
            </a:extLst>
          </p:cNvPr>
          <p:cNvSpPr/>
          <p:nvPr/>
        </p:nvSpPr>
        <p:spPr>
          <a:xfrm>
            <a:off x="5616000" y="237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0" name="Afrundet rektangel 92">
            <a:extLst>
              <a:ext uri="{FF2B5EF4-FFF2-40B4-BE49-F238E27FC236}">
                <a16:creationId xmlns:a16="http://schemas.microsoft.com/office/drawing/2014/main" id="{7F2445D1-6CCC-4322-94EB-238BBFF00F27}"/>
              </a:ext>
            </a:extLst>
          </p:cNvPr>
          <p:cNvSpPr/>
          <p:nvPr/>
        </p:nvSpPr>
        <p:spPr>
          <a:xfrm>
            <a:off x="4392000" y="3960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ussi B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1" name="Afrundet rektangel 92">
            <a:extLst>
              <a:ext uri="{FF2B5EF4-FFF2-40B4-BE49-F238E27FC236}">
                <a16:creationId xmlns:a16="http://schemas.microsoft.com/office/drawing/2014/main" id="{822DA658-F893-4780-95EA-55C238C45134}"/>
              </a:ext>
            </a:extLst>
          </p:cNvPr>
          <p:cNvSpPr/>
          <p:nvPr/>
        </p:nvSpPr>
        <p:spPr>
          <a:xfrm>
            <a:off x="4392000" y="4248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7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" name="Afrundet rektangel 92">
            <a:extLst>
              <a:ext uri="{FF2B5EF4-FFF2-40B4-BE49-F238E27FC236}">
                <a16:creationId xmlns:a16="http://schemas.microsoft.com/office/drawing/2014/main" id="{D25C20EC-14EA-F1B3-A9FD-7440E395EFE2}"/>
              </a:ext>
            </a:extLst>
          </p:cNvPr>
          <p:cNvSpPr/>
          <p:nvPr/>
        </p:nvSpPr>
        <p:spPr>
          <a:xfrm>
            <a:off x="4392000" y="453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highlight>
                <a:srgbClr val="FFFF00"/>
              </a:highlight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Malene Bylo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8" name="Afrundet rektangel 92">
            <a:extLst>
              <a:ext uri="{FF2B5EF4-FFF2-40B4-BE49-F238E27FC236}">
                <a16:creationId xmlns:a16="http://schemas.microsoft.com/office/drawing/2014/main" id="{564E01AD-4189-2925-5969-E2D903B980B4}"/>
              </a:ext>
            </a:extLst>
          </p:cNvPr>
          <p:cNvSpPr/>
          <p:nvPr/>
        </p:nvSpPr>
        <p:spPr>
          <a:xfrm>
            <a:off x="4392000" y="5112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6" name="Afrundet rektangel 5">
            <a:extLst>
              <a:ext uri="{FF2B5EF4-FFF2-40B4-BE49-F238E27FC236}">
                <a16:creationId xmlns:a16="http://schemas.microsoft.com/office/drawing/2014/main" id="{0BDB6811-E1C8-4C34-B571-EB97A1CB5A73}"/>
              </a:ext>
            </a:extLst>
          </p:cNvPr>
          <p:cNvSpPr/>
          <p:nvPr/>
        </p:nvSpPr>
        <p:spPr>
          <a:xfrm>
            <a:off x="4830456" y="1620000"/>
            <a:ext cx="151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Erhverv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Thomas Jakobsen</a:t>
            </a: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</p:txBody>
      </p:sp>
      <p:sp>
        <p:nvSpPr>
          <p:cNvPr id="256" name="Afrundet rektangel 3">
            <a:extLst>
              <a:ext uri="{FF2B5EF4-FFF2-40B4-BE49-F238E27FC236}">
                <a16:creationId xmlns:a16="http://schemas.microsoft.com/office/drawing/2014/main" id="{0E477479-8FA1-4A38-85B8-5EBB2486698D}"/>
              </a:ext>
            </a:extLst>
          </p:cNvPr>
          <p:cNvSpPr/>
          <p:nvPr/>
        </p:nvSpPr>
        <p:spPr>
          <a:xfrm>
            <a:off x="5446824" y="1022956"/>
            <a:ext cx="1152000" cy="360000"/>
          </a:xfrm>
          <a:prstGeom prst="roundRect">
            <a:avLst>
              <a:gd name="adj" fmla="val 0"/>
            </a:avLst>
          </a:prstGeom>
          <a:solidFill>
            <a:srgbClr val="14143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Direktø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Anne-Sofie Jensen</a:t>
            </a:r>
            <a:b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15" name="Rektangel 314">
            <a:extLst>
              <a:ext uri="{FF2B5EF4-FFF2-40B4-BE49-F238E27FC236}">
                <a16:creationId xmlns:a16="http://schemas.microsoft.com/office/drawing/2014/main" id="{407FDC1A-A2B6-4244-86EE-3431B242EDD3}"/>
              </a:ext>
            </a:extLst>
          </p:cNvPr>
          <p:cNvSpPr/>
          <p:nvPr/>
        </p:nvSpPr>
        <p:spPr>
          <a:xfrm>
            <a:off x="357826" y="344083"/>
            <a:ext cx="9400164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6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 Black" panose="020B0A03030000000000" pitchFamily="34" charset="0"/>
                <a:ea typeface="+mn-ea"/>
                <a:cs typeface="+mn-cs"/>
              </a:rPr>
              <a:t>Vurderingsstyrelsen</a:t>
            </a:r>
            <a:b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highlight>
                  <a:srgbClr val="FFFF00"/>
                </a:highlight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Organisation pr. 1. </a:t>
            </a:r>
            <a:r>
              <a:rPr lang="da-DK" sz="1400" dirty="0">
                <a:solidFill>
                  <a:srgbClr val="14143C"/>
                </a:solidFill>
                <a:latin typeface="Academy Sans Office" panose="020B0503030000000000" pitchFamily="34" charset="0"/>
              </a:rPr>
              <a:t>juli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2026</a:t>
            </a:r>
          </a:p>
        </p:txBody>
      </p:sp>
      <p:sp>
        <p:nvSpPr>
          <p:cNvPr id="144" name="Pladsholder til tekst 22">
            <a:extLst>
              <a:ext uri="{FF2B5EF4-FFF2-40B4-BE49-F238E27FC236}">
                <a16:creationId xmlns:a16="http://schemas.microsoft.com/office/drawing/2014/main" id="{9D016636-F7F1-4A41-95AD-080D1D92587E}"/>
              </a:ext>
            </a:extLst>
          </p:cNvPr>
          <p:cNvSpPr txBox="1">
            <a:spLocks/>
          </p:cNvSpPr>
          <p:nvPr/>
        </p:nvSpPr>
        <p:spPr>
          <a:xfrm>
            <a:off x="213510" y="3769400"/>
            <a:ext cx="1296000" cy="211161"/>
          </a:xfrm>
          <a:prstGeom prst="rect">
            <a:avLst/>
          </a:prstGeom>
        </p:spPr>
        <p:txBody>
          <a:bodyPr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Roskilde/Aalborg/</a:t>
            </a:r>
          </a:p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Lyngby</a:t>
            </a:r>
          </a:p>
        </p:txBody>
      </p:sp>
      <p:sp>
        <p:nvSpPr>
          <p:cNvPr id="145" name="Pladsholder til tekst 22">
            <a:extLst>
              <a:ext uri="{FF2B5EF4-FFF2-40B4-BE49-F238E27FC236}">
                <a16:creationId xmlns:a16="http://schemas.microsoft.com/office/drawing/2014/main" id="{677631D5-29CF-4FB5-B4E1-07951742D496}"/>
              </a:ext>
            </a:extLst>
          </p:cNvPr>
          <p:cNvSpPr txBox="1">
            <a:spLocks/>
          </p:cNvSpPr>
          <p:nvPr/>
        </p:nvSpPr>
        <p:spPr>
          <a:xfrm>
            <a:off x="1584000" y="3708000"/>
            <a:ext cx="1296000" cy="450000"/>
          </a:xfrm>
          <a:prstGeom prst="rect">
            <a:avLst/>
          </a:prstGeom>
        </p:spPr>
        <p:txBody>
          <a:bodyPr lIns="0" tIns="45720" rIns="0" bIns="45720" anchor="t"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rederiksberg/Roskilde</a:t>
            </a:r>
            <a:endParaRPr kumimoji="0" lang="da-DK" sz="8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</p:txBody>
      </p:sp>
      <p:sp>
        <p:nvSpPr>
          <p:cNvPr id="147" name="Pladsholder til tekst 22">
            <a:extLst>
              <a:ext uri="{FF2B5EF4-FFF2-40B4-BE49-F238E27FC236}">
                <a16:creationId xmlns:a16="http://schemas.microsoft.com/office/drawing/2014/main" id="{25636417-478C-4834-AFA8-262500D05926}"/>
              </a:ext>
            </a:extLst>
          </p:cNvPr>
          <p:cNvSpPr txBox="1">
            <a:spLocks/>
          </p:cNvSpPr>
          <p:nvPr/>
        </p:nvSpPr>
        <p:spPr>
          <a:xfrm>
            <a:off x="2952000" y="4223040"/>
            <a:ext cx="1296000" cy="35788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Roskilde/Lyngby/</a:t>
            </a:r>
            <a:b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rederiksberg</a:t>
            </a:r>
          </a:p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8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51" name="Pladsholder til tekst 22">
            <a:extLst>
              <a:ext uri="{FF2B5EF4-FFF2-40B4-BE49-F238E27FC236}">
                <a16:creationId xmlns:a16="http://schemas.microsoft.com/office/drawing/2014/main" id="{F8E6B0FB-45B0-4D0E-B6F1-D414DA9B8D38}"/>
              </a:ext>
            </a:extLst>
          </p:cNvPr>
          <p:cNvSpPr txBox="1">
            <a:spLocks/>
          </p:cNvSpPr>
          <p:nvPr/>
        </p:nvSpPr>
        <p:spPr>
          <a:xfrm>
            <a:off x="6908991" y="5479798"/>
            <a:ext cx="2520000" cy="326703"/>
          </a:xfrm>
          <a:prstGeom prst="rect">
            <a:avLst/>
          </a:prstGeom>
        </p:spPr>
        <p:txBody>
          <a:bodyPr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Haderslev/Herning/Aalborg/Silkeborg </a:t>
            </a:r>
          </a:p>
        </p:txBody>
      </p:sp>
      <p:sp>
        <p:nvSpPr>
          <p:cNvPr id="153" name="Pladsholder til tekst 22">
            <a:extLst>
              <a:ext uri="{FF2B5EF4-FFF2-40B4-BE49-F238E27FC236}">
                <a16:creationId xmlns:a16="http://schemas.microsoft.com/office/drawing/2014/main" id="{C9540196-93AC-4E91-8C75-8B3CBF5D165E}"/>
              </a:ext>
            </a:extLst>
          </p:cNvPr>
          <p:cNvSpPr txBox="1">
            <a:spLocks/>
          </p:cNvSpPr>
          <p:nvPr/>
        </p:nvSpPr>
        <p:spPr>
          <a:xfrm>
            <a:off x="9504000" y="4500000"/>
            <a:ext cx="2520000" cy="162150"/>
          </a:xfrm>
          <a:prstGeom prst="rect">
            <a:avLst/>
          </a:prstGeom>
        </p:spPr>
        <p:txBody>
          <a:bodyPr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vendborg</a:t>
            </a:r>
          </a:p>
        </p:txBody>
      </p:sp>
      <p:grpSp>
        <p:nvGrpSpPr>
          <p:cNvPr id="185" name="Gruppe 184">
            <a:extLst>
              <a:ext uri="{FF2B5EF4-FFF2-40B4-BE49-F238E27FC236}">
                <a16:creationId xmlns:a16="http://schemas.microsoft.com/office/drawing/2014/main" id="{22F27AA7-0E8A-924D-B502-9F5DD7D9BB94}"/>
              </a:ext>
            </a:extLst>
          </p:cNvPr>
          <p:cNvGrpSpPr/>
          <p:nvPr/>
        </p:nvGrpSpPr>
        <p:grpSpPr>
          <a:xfrm>
            <a:off x="2650380" y="6419200"/>
            <a:ext cx="1351864" cy="126000"/>
            <a:chOff x="3003821" y="6419200"/>
            <a:chExt cx="1351864" cy="126000"/>
          </a:xfrm>
        </p:grpSpPr>
        <p:sp>
          <p:nvSpPr>
            <p:cNvPr id="165" name="Afrundet rektangel 120">
              <a:extLst>
                <a:ext uri="{FF2B5EF4-FFF2-40B4-BE49-F238E27FC236}">
                  <a16:creationId xmlns:a16="http://schemas.microsoft.com/office/drawing/2014/main" id="{710B0638-ECBC-4164-98A4-B9744545CFD2}"/>
                </a:ext>
              </a:extLst>
            </p:cNvPr>
            <p:cNvSpPr/>
            <p:nvPr/>
          </p:nvSpPr>
          <p:spPr>
            <a:xfrm>
              <a:off x="3003821" y="6419200"/>
              <a:ext cx="126000" cy="126000"/>
            </a:xfrm>
            <a:prstGeom prst="roundRect">
              <a:avLst>
                <a:gd name="adj" fmla="val 0"/>
              </a:avLst>
            </a:prstGeom>
            <a:solidFill>
              <a:srgbClr val="D0D0D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endParaRPr>
            </a:p>
          </p:txBody>
        </p:sp>
        <p:sp>
          <p:nvSpPr>
            <p:cNvPr id="166" name="Tekstfelt 165">
              <a:extLst>
                <a:ext uri="{FF2B5EF4-FFF2-40B4-BE49-F238E27FC236}">
                  <a16:creationId xmlns:a16="http://schemas.microsoft.com/office/drawing/2014/main" id="{19F89CB9-E575-489C-8B63-395DAA049393}"/>
                </a:ext>
              </a:extLst>
            </p:cNvPr>
            <p:cNvSpPr txBox="1"/>
            <p:nvPr/>
          </p:nvSpPr>
          <p:spPr>
            <a:xfrm>
              <a:off x="3172026" y="6439779"/>
              <a:ext cx="1183659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8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50" b="0" i="0" u="none" strike="noStrike" kern="1200" cap="none" spc="0" normalizeH="0" baseline="0" noProof="0" dirty="0">
                  <a:ln>
                    <a:noFill/>
                  </a:ln>
                  <a:solidFill>
                    <a:srgbClr val="342F2B"/>
                  </a:solidFill>
                  <a:effectLst/>
                  <a:uLnTx/>
                  <a:uFillTx/>
                  <a:latin typeface="Academy Sans Office" panose="020B0503030000000000" pitchFamily="34" charset="0"/>
                  <a:ea typeface="+mn-ea"/>
                  <a:cs typeface="Arial" pitchFamily="34" charset="0"/>
                </a:rPr>
                <a:t>Funktionsleder/ Kontorchef</a:t>
              </a:r>
            </a:p>
          </p:txBody>
        </p:sp>
      </p:grpSp>
      <p:grpSp>
        <p:nvGrpSpPr>
          <p:cNvPr id="187" name="Gruppe 186">
            <a:extLst>
              <a:ext uri="{FF2B5EF4-FFF2-40B4-BE49-F238E27FC236}">
                <a16:creationId xmlns:a16="http://schemas.microsoft.com/office/drawing/2014/main" id="{A8F25023-0966-EF5B-1FC8-C0B7C5A622B0}"/>
              </a:ext>
            </a:extLst>
          </p:cNvPr>
          <p:cNvGrpSpPr/>
          <p:nvPr/>
        </p:nvGrpSpPr>
        <p:grpSpPr>
          <a:xfrm>
            <a:off x="1693601" y="6419200"/>
            <a:ext cx="818223" cy="126000"/>
            <a:chOff x="2133435" y="6419200"/>
            <a:chExt cx="818223" cy="126000"/>
          </a:xfrm>
        </p:grpSpPr>
        <p:sp>
          <p:nvSpPr>
            <p:cNvPr id="168" name="Afrundet rektangel 126">
              <a:extLst>
                <a:ext uri="{FF2B5EF4-FFF2-40B4-BE49-F238E27FC236}">
                  <a16:creationId xmlns:a16="http://schemas.microsoft.com/office/drawing/2014/main" id="{9A59C44A-A553-41C0-882E-2967A0219243}"/>
                </a:ext>
              </a:extLst>
            </p:cNvPr>
            <p:cNvSpPr/>
            <p:nvPr/>
          </p:nvSpPr>
          <p:spPr>
            <a:xfrm>
              <a:off x="2133435" y="6419200"/>
              <a:ext cx="126000" cy="126000"/>
            </a:xfrm>
            <a:prstGeom prst="roundRect">
              <a:avLst>
                <a:gd name="adj" fmla="val 1682"/>
              </a:avLst>
            </a:prstGeom>
            <a:solidFill>
              <a:srgbClr val="72728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endParaRPr>
            </a:p>
          </p:txBody>
        </p:sp>
        <p:sp>
          <p:nvSpPr>
            <p:cNvPr id="169" name="Tekstfelt 168">
              <a:extLst>
                <a:ext uri="{FF2B5EF4-FFF2-40B4-BE49-F238E27FC236}">
                  <a16:creationId xmlns:a16="http://schemas.microsoft.com/office/drawing/2014/main" id="{90CE17D0-63B9-4111-A706-7FA075F5812E}"/>
                </a:ext>
              </a:extLst>
            </p:cNvPr>
            <p:cNvSpPr txBox="1"/>
            <p:nvPr/>
          </p:nvSpPr>
          <p:spPr>
            <a:xfrm>
              <a:off x="2302668" y="6439779"/>
              <a:ext cx="64899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8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50" b="0" i="0" u="none" strike="noStrike" kern="1200" cap="none" spc="0" normalizeH="0" baseline="0" noProof="0" dirty="0">
                  <a:ln>
                    <a:noFill/>
                  </a:ln>
                  <a:solidFill>
                    <a:srgbClr val="342F2B"/>
                  </a:solidFill>
                  <a:effectLst/>
                  <a:uLnTx/>
                  <a:uFillTx/>
                  <a:latin typeface="Academy Sans Office" panose="020B0503030000000000" pitchFamily="34" charset="0"/>
                  <a:ea typeface="+mn-ea"/>
                  <a:cs typeface="Arial" pitchFamily="34" charset="0"/>
                </a:rPr>
                <a:t>Underdirektør</a:t>
              </a:r>
            </a:p>
          </p:txBody>
        </p:sp>
      </p:grpSp>
      <p:grpSp>
        <p:nvGrpSpPr>
          <p:cNvPr id="188" name="Gruppe 187">
            <a:extLst>
              <a:ext uri="{FF2B5EF4-FFF2-40B4-BE49-F238E27FC236}">
                <a16:creationId xmlns:a16="http://schemas.microsoft.com/office/drawing/2014/main" id="{8E29E5F1-FDEE-992B-3928-4344C987D9ED}"/>
              </a:ext>
            </a:extLst>
          </p:cNvPr>
          <p:cNvGrpSpPr/>
          <p:nvPr/>
        </p:nvGrpSpPr>
        <p:grpSpPr>
          <a:xfrm>
            <a:off x="913483" y="6419200"/>
            <a:ext cx="815362" cy="126000"/>
            <a:chOff x="1353317" y="6419200"/>
            <a:chExt cx="815362" cy="126000"/>
          </a:xfrm>
        </p:grpSpPr>
        <p:sp>
          <p:nvSpPr>
            <p:cNvPr id="171" name="Afrundet rektangel 143">
              <a:extLst>
                <a:ext uri="{FF2B5EF4-FFF2-40B4-BE49-F238E27FC236}">
                  <a16:creationId xmlns:a16="http://schemas.microsoft.com/office/drawing/2014/main" id="{139608B2-26F1-495D-AB0B-10266CC9504D}"/>
                </a:ext>
              </a:extLst>
            </p:cNvPr>
            <p:cNvSpPr/>
            <p:nvPr/>
          </p:nvSpPr>
          <p:spPr>
            <a:xfrm>
              <a:off x="1353317" y="6419200"/>
              <a:ext cx="126000" cy="126000"/>
            </a:xfrm>
            <a:prstGeom prst="roundRect">
              <a:avLst>
                <a:gd name="adj" fmla="val 0"/>
              </a:avLst>
            </a:prstGeom>
            <a:solidFill>
              <a:srgbClr val="14143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endParaRPr>
            </a:p>
          </p:txBody>
        </p:sp>
        <p:sp>
          <p:nvSpPr>
            <p:cNvPr id="172" name="Tekstfelt 171">
              <a:extLst>
                <a:ext uri="{FF2B5EF4-FFF2-40B4-BE49-F238E27FC236}">
                  <a16:creationId xmlns:a16="http://schemas.microsoft.com/office/drawing/2014/main" id="{ABB33122-ACD8-4986-A17C-8238DEACA7BB}"/>
                </a:ext>
              </a:extLst>
            </p:cNvPr>
            <p:cNvSpPr txBox="1"/>
            <p:nvPr/>
          </p:nvSpPr>
          <p:spPr>
            <a:xfrm>
              <a:off x="1519689" y="6439779"/>
              <a:ext cx="64899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8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50" b="0" i="0" u="none" strike="noStrike" kern="1200" cap="none" spc="0" normalizeH="0" baseline="0" noProof="0" dirty="0">
                  <a:ln>
                    <a:noFill/>
                  </a:ln>
                  <a:solidFill>
                    <a:srgbClr val="342F2B"/>
                  </a:solidFill>
                  <a:effectLst/>
                  <a:uLnTx/>
                  <a:uFillTx/>
                  <a:latin typeface="Academy Sans Office" panose="020B0503030000000000" pitchFamily="34" charset="0"/>
                  <a:ea typeface="+mn-ea"/>
                  <a:cs typeface="Arial" pitchFamily="34" charset="0"/>
                </a:rPr>
                <a:t>Direktør</a:t>
              </a:r>
            </a:p>
          </p:txBody>
        </p:sp>
      </p:grpSp>
      <p:sp>
        <p:nvSpPr>
          <p:cNvPr id="163" name="Rektangel 162">
            <a:extLst>
              <a:ext uri="{FF2B5EF4-FFF2-40B4-BE49-F238E27FC236}">
                <a16:creationId xmlns:a16="http://schemas.microsoft.com/office/drawing/2014/main" id="{AC865ECB-BF4C-4186-BFB5-21F0C293E8E1}"/>
              </a:ext>
            </a:extLst>
          </p:cNvPr>
          <p:cNvSpPr/>
          <p:nvPr/>
        </p:nvSpPr>
        <p:spPr>
          <a:xfrm>
            <a:off x="89319" y="6338028"/>
            <a:ext cx="1134931" cy="59626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38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" name="Afrundet rektangel 5">
            <a:extLst>
              <a:ext uri="{FF2B5EF4-FFF2-40B4-BE49-F238E27FC236}">
                <a16:creationId xmlns:a16="http://schemas.microsoft.com/office/drawing/2014/main" id="{BC56175F-98F2-C2D3-C562-A51B370FDB69}"/>
              </a:ext>
            </a:extLst>
          </p:cNvPr>
          <p:cNvSpPr/>
          <p:nvPr/>
        </p:nvSpPr>
        <p:spPr>
          <a:xfrm>
            <a:off x="2952000" y="1549330"/>
            <a:ext cx="1296000" cy="298667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4" name="Afrundet rektangel 28">
            <a:extLst>
              <a:ext uri="{FF2B5EF4-FFF2-40B4-BE49-F238E27FC236}">
                <a16:creationId xmlns:a16="http://schemas.microsoft.com/office/drawing/2014/main" id="{7293CEDC-F89F-4448-B90E-B9B9B7D2BAB3}"/>
              </a:ext>
            </a:extLst>
          </p:cNvPr>
          <p:cNvSpPr>
            <a:spLocks/>
          </p:cNvSpPr>
          <p:nvPr/>
        </p:nvSpPr>
        <p:spPr>
          <a:xfrm>
            <a:off x="3024000" y="2448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orretningsudvikl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Vurd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5" name="Afrundet rektangel 28">
            <a:extLst>
              <a:ext uri="{FF2B5EF4-FFF2-40B4-BE49-F238E27FC236}">
                <a16:creationId xmlns:a16="http://schemas.microsoft.com/office/drawing/2014/main" id="{35BB93FB-7395-40E3-8500-983CA2B7EF8C}"/>
              </a:ext>
            </a:extLst>
          </p:cNvPr>
          <p:cNvSpPr/>
          <p:nvPr/>
        </p:nvSpPr>
        <p:spPr>
          <a:xfrm>
            <a:off x="3024000" y="2824480"/>
            <a:ext cx="1152000" cy="27704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 err="1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Kravstillelse</a:t>
            </a: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og Meddelelser</a:t>
            </a: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26" name="Afrundet rektangel 28">
            <a:extLst>
              <a:ext uri="{FF2B5EF4-FFF2-40B4-BE49-F238E27FC236}">
                <a16:creationId xmlns:a16="http://schemas.microsoft.com/office/drawing/2014/main" id="{C2B06DA7-95BF-47A4-A482-CA2304A5F227}"/>
              </a:ext>
            </a:extLst>
          </p:cNvPr>
          <p:cNvSpPr/>
          <p:nvPr/>
        </p:nvSpPr>
        <p:spPr>
          <a:xfrm>
            <a:off x="3024000" y="2088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tyring og </a:t>
            </a:r>
            <a:b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ystemforvaltning </a:t>
            </a:r>
          </a:p>
        </p:txBody>
      </p:sp>
      <p:sp>
        <p:nvSpPr>
          <p:cNvPr id="27" name="Afrundet rektangel 5">
            <a:extLst>
              <a:ext uri="{FF2B5EF4-FFF2-40B4-BE49-F238E27FC236}">
                <a16:creationId xmlns:a16="http://schemas.microsoft.com/office/drawing/2014/main" id="{ACB5300E-44CD-4C32-9B90-BD30DCADDBA0}"/>
              </a:ext>
            </a:extLst>
          </p:cNvPr>
          <p:cNvSpPr/>
          <p:nvPr/>
        </p:nvSpPr>
        <p:spPr>
          <a:xfrm>
            <a:off x="3024000" y="1620000"/>
            <a:ext cx="115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Anders Juul Nielsen</a:t>
            </a: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8" name="Afrundet rektangel 28">
            <a:extLst>
              <a:ext uri="{FF2B5EF4-FFF2-40B4-BE49-F238E27FC236}">
                <a16:creationId xmlns:a16="http://schemas.microsoft.com/office/drawing/2014/main" id="{7D38AC62-9880-40AD-BDB4-0DCB55EB9295}"/>
              </a:ext>
            </a:extLst>
          </p:cNvPr>
          <p:cNvSpPr/>
          <p:nvPr/>
        </p:nvSpPr>
        <p:spPr>
          <a:xfrm>
            <a:off x="3024000" y="314768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Borger-og virksomheds-kommunikation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26" name="Afrundet rektangel 5">
            <a:extLst>
              <a:ext uri="{FF2B5EF4-FFF2-40B4-BE49-F238E27FC236}">
                <a16:creationId xmlns:a16="http://schemas.microsoft.com/office/drawing/2014/main" id="{BDC58139-7C08-7844-2467-78ACFB99D24C}"/>
              </a:ext>
            </a:extLst>
          </p:cNvPr>
          <p:cNvSpPr/>
          <p:nvPr/>
        </p:nvSpPr>
        <p:spPr>
          <a:xfrm>
            <a:off x="9763351" y="1547056"/>
            <a:ext cx="2273818" cy="5201379"/>
          </a:xfrm>
          <a:prstGeom prst="roundRect">
            <a:avLst>
              <a:gd name="adj" fmla="val 0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8" name="Afrundet rektangel 5">
            <a:extLst>
              <a:ext uri="{FF2B5EF4-FFF2-40B4-BE49-F238E27FC236}">
                <a16:creationId xmlns:a16="http://schemas.microsoft.com/office/drawing/2014/main" id="{BB4618C5-6157-4BED-9EB7-8BD36F63D92C}"/>
              </a:ext>
            </a:extLst>
          </p:cNvPr>
          <p:cNvSpPr/>
          <p:nvPr/>
        </p:nvSpPr>
        <p:spPr>
          <a:xfrm>
            <a:off x="10008000" y="1620000"/>
            <a:ext cx="151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og Vejled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Hanne Michaels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60" name="Afrundet rektangel 28">
            <a:extLst>
              <a:ext uri="{FF2B5EF4-FFF2-40B4-BE49-F238E27FC236}">
                <a16:creationId xmlns:a16="http://schemas.microsoft.com/office/drawing/2014/main" id="{EAA83444-AA57-4427-9BC6-9739937951C9}"/>
              </a:ext>
            </a:extLst>
          </p:cNvPr>
          <p:cNvSpPr/>
          <p:nvPr/>
        </p:nvSpPr>
        <p:spPr>
          <a:xfrm>
            <a:off x="9576000" y="320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62" name="Afrundet rektangel 28">
            <a:extLst>
              <a:ext uri="{FF2B5EF4-FFF2-40B4-BE49-F238E27FC236}">
                <a16:creationId xmlns:a16="http://schemas.microsoft.com/office/drawing/2014/main" id="{02F06F07-4B6D-44EE-A856-446F65AD866F}"/>
              </a:ext>
            </a:extLst>
          </p:cNvPr>
          <p:cNvSpPr/>
          <p:nvPr/>
        </p:nvSpPr>
        <p:spPr>
          <a:xfrm>
            <a:off x="9576000" y="3492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3</a:t>
            </a:r>
          </a:p>
        </p:txBody>
      </p:sp>
      <p:sp>
        <p:nvSpPr>
          <p:cNvPr id="63" name="Afrundet rektangel 28">
            <a:extLst>
              <a:ext uri="{FF2B5EF4-FFF2-40B4-BE49-F238E27FC236}">
                <a16:creationId xmlns:a16="http://schemas.microsoft.com/office/drawing/2014/main" id="{D207C151-318E-4ACA-9781-39AE246C66E6}"/>
              </a:ext>
            </a:extLst>
          </p:cNvPr>
          <p:cNvSpPr/>
          <p:nvPr/>
        </p:nvSpPr>
        <p:spPr>
          <a:xfrm>
            <a:off x="9576000" y="3780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600" dirty="0">
              <a:solidFill>
                <a:srgbClr val="14143C"/>
              </a:solidFill>
              <a:latin typeface="Academy Sans Office" panose="020B0503030000000000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64" name="Afrundet rektangel 28">
            <a:extLst>
              <a:ext uri="{FF2B5EF4-FFF2-40B4-BE49-F238E27FC236}">
                <a16:creationId xmlns:a16="http://schemas.microsoft.com/office/drawing/2014/main" id="{74556186-DCF8-4868-8F31-606C78A4664F}"/>
              </a:ext>
            </a:extLst>
          </p:cNvPr>
          <p:cNvSpPr/>
          <p:nvPr/>
        </p:nvSpPr>
        <p:spPr>
          <a:xfrm>
            <a:off x="9576000" y="4060594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66" name="Afrundet rektangel 28">
            <a:extLst>
              <a:ext uri="{FF2B5EF4-FFF2-40B4-BE49-F238E27FC236}">
                <a16:creationId xmlns:a16="http://schemas.microsoft.com/office/drawing/2014/main" id="{6DE3FB46-A981-4911-80D2-C7DC4DD319DC}"/>
              </a:ext>
            </a:extLst>
          </p:cNvPr>
          <p:cNvSpPr/>
          <p:nvPr/>
        </p:nvSpPr>
        <p:spPr>
          <a:xfrm>
            <a:off x="10800000" y="2448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6</a:t>
            </a:r>
          </a:p>
        </p:txBody>
      </p:sp>
      <p:sp>
        <p:nvSpPr>
          <p:cNvPr id="14" name="Afrundet rektangel 5">
            <a:extLst>
              <a:ext uri="{FF2B5EF4-FFF2-40B4-BE49-F238E27FC236}">
                <a16:creationId xmlns:a16="http://schemas.microsoft.com/office/drawing/2014/main" id="{A8D430B7-BA2B-7725-54FB-188B8B676C71}"/>
              </a:ext>
            </a:extLst>
          </p:cNvPr>
          <p:cNvSpPr/>
          <p:nvPr/>
        </p:nvSpPr>
        <p:spPr>
          <a:xfrm>
            <a:off x="6912000" y="1549330"/>
            <a:ext cx="2520000" cy="414000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1" name="Afrundet rektangel 103">
            <a:extLst>
              <a:ext uri="{FF2B5EF4-FFF2-40B4-BE49-F238E27FC236}">
                <a16:creationId xmlns:a16="http://schemas.microsoft.com/office/drawing/2014/main" id="{8DEC5F14-5AE5-4577-80B2-22EA49BBD63C}"/>
              </a:ext>
            </a:extLst>
          </p:cNvPr>
          <p:cNvSpPr/>
          <p:nvPr/>
        </p:nvSpPr>
        <p:spPr>
          <a:xfrm>
            <a:off x="6984000" y="398582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2" name="Afrundet rektangel 92">
            <a:extLst>
              <a:ext uri="{FF2B5EF4-FFF2-40B4-BE49-F238E27FC236}">
                <a16:creationId xmlns:a16="http://schemas.microsoft.com/office/drawing/2014/main" id="{2791A18E-2CF8-4D0E-B6C3-A15741A5B64F}"/>
              </a:ext>
            </a:extLst>
          </p:cNvPr>
          <p:cNvSpPr/>
          <p:nvPr/>
        </p:nvSpPr>
        <p:spPr>
          <a:xfrm>
            <a:off x="6984000" y="309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2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3" name="Afrundet rektangel 92">
            <a:extLst>
              <a:ext uri="{FF2B5EF4-FFF2-40B4-BE49-F238E27FC236}">
                <a16:creationId xmlns:a16="http://schemas.microsoft.com/office/drawing/2014/main" id="{F84F2A9F-01AA-43B1-9F78-0FF587F236C6}"/>
              </a:ext>
            </a:extLst>
          </p:cNvPr>
          <p:cNvSpPr/>
          <p:nvPr/>
        </p:nvSpPr>
        <p:spPr>
          <a:xfrm>
            <a:off x="6984000" y="339134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4" name="Afrundet rektangel 92">
            <a:extLst>
              <a:ext uri="{FF2B5EF4-FFF2-40B4-BE49-F238E27FC236}">
                <a16:creationId xmlns:a16="http://schemas.microsoft.com/office/drawing/2014/main" id="{BACAE28A-1C5D-40E8-8B9B-9870E27FA885}"/>
              </a:ext>
            </a:extLst>
          </p:cNvPr>
          <p:cNvSpPr/>
          <p:nvPr/>
        </p:nvSpPr>
        <p:spPr>
          <a:xfrm>
            <a:off x="6984000" y="3688584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5" name="Afrundet rektangel 92">
            <a:extLst>
              <a:ext uri="{FF2B5EF4-FFF2-40B4-BE49-F238E27FC236}">
                <a16:creationId xmlns:a16="http://schemas.microsoft.com/office/drawing/2014/main" id="{7E275B9F-CB7A-40E1-B525-B34F8EADE4AE}"/>
              </a:ext>
            </a:extLst>
          </p:cNvPr>
          <p:cNvSpPr/>
          <p:nvPr/>
        </p:nvSpPr>
        <p:spPr>
          <a:xfrm>
            <a:off x="8208000" y="308845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8" name="Afrundet rektangel 92">
            <a:extLst>
              <a:ext uri="{FF2B5EF4-FFF2-40B4-BE49-F238E27FC236}">
                <a16:creationId xmlns:a16="http://schemas.microsoft.com/office/drawing/2014/main" id="{37FDCEED-CE8C-4803-BAB4-AD326EDD11B6}"/>
              </a:ext>
            </a:extLst>
          </p:cNvPr>
          <p:cNvSpPr/>
          <p:nvPr/>
        </p:nvSpPr>
        <p:spPr>
          <a:xfrm>
            <a:off x="8208000" y="2438533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1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1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9" name="Afrundet rektangel 92">
            <a:extLst>
              <a:ext uri="{FF2B5EF4-FFF2-40B4-BE49-F238E27FC236}">
                <a16:creationId xmlns:a16="http://schemas.microsoft.com/office/drawing/2014/main" id="{F4244C38-C0EB-4B0B-A420-F88FCB998D0C}"/>
              </a:ext>
            </a:extLst>
          </p:cNvPr>
          <p:cNvSpPr/>
          <p:nvPr/>
        </p:nvSpPr>
        <p:spPr>
          <a:xfrm>
            <a:off x="6984000" y="2808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0" name="Afrundet rektangel 92">
            <a:extLst>
              <a:ext uri="{FF2B5EF4-FFF2-40B4-BE49-F238E27FC236}">
                <a16:creationId xmlns:a16="http://schemas.microsoft.com/office/drawing/2014/main" id="{6C4BAF0E-E33B-4610-8CF7-B41583C34201}"/>
              </a:ext>
            </a:extLst>
          </p:cNvPr>
          <p:cNvSpPr/>
          <p:nvPr/>
        </p:nvSpPr>
        <p:spPr>
          <a:xfrm>
            <a:off x="8208000" y="2801162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1" name="Afrundet rektangel 92">
            <a:extLst>
              <a:ext uri="{FF2B5EF4-FFF2-40B4-BE49-F238E27FC236}">
                <a16:creationId xmlns:a16="http://schemas.microsoft.com/office/drawing/2014/main" id="{B2114E3C-C8AC-4F21-B211-807B4FC97D8F}"/>
              </a:ext>
            </a:extLst>
          </p:cNvPr>
          <p:cNvSpPr/>
          <p:nvPr/>
        </p:nvSpPr>
        <p:spPr>
          <a:xfrm>
            <a:off x="6984000" y="516777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0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2" name="Afrundet rektangel 92">
            <a:extLst>
              <a:ext uri="{FF2B5EF4-FFF2-40B4-BE49-F238E27FC236}">
                <a16:creationId xmlns:a16="http://schemas.microsoft.com/office/drawing/2014/main" id="{6DB37E92-3027-42A6-BCFC-233574324690}"/>
              </a:ext>
            </a:extLst>
          </p:cNvPr>
          <p:cNvSpPr/>
          <p:nvPr/>
        </p:nvSpPr>
        <p:spPr>
          <a:xfrm>
            <a:off x="6984000" y="4283056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53" name="Afrundet rektangel 5">
            <a:extLst>
              <a:ext uri="{FF2B5EF4-FFF2-40B4-BE49-F238E27FC236}">
                <a16:creationId xmlns:a16="http://schemas.microsoft.com/office/drawing/2014/main" id="{82038B44-209C-4AE8-94C8-FAEC0DF1ADF5}"/>
              </a:ext>
            </a:extLst>
          </p:cNvPr>
          <p:cNvSpPr/>
          <p:nvPr/>
        </p:nvSpPr>
        <p:spPr>
          <a:xfrm>
            <a:off x="7431463" y="1620000"/>
            <a:ext cx="1512000" cy="360000"/>
          </a:xfrm>
          <a:prstGeom prst="roundRect">
            <a:avLst>
              <a:gd name="adj" fmla="val 0"/>
            </a:avLst>
          </a:prstGeom>
          <a:solidFill>
            <a:srgbClr val="72728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 Ejerboli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Rasmus Kruse</a:t>
            </a:r>
          </a:p>
        </p:txBody>
      </p:sp>
      <p:sp>
        <p:nvSpPr>
          <p:cNvPr id="57" name="Afrundet rektangel 92">
            <a:extLst>
              <a:ext uri="{FF2B5EF4-FFF2-40B4-BE49-F238E27FC236}">
                <a16:creationId xmlns:a16="http://schemas.microsoft.com/office/drawing/2014/main" id="{DB94BAA4-F920-4216-8620-02D37927B716}"/>
              </a:ext>
            </a:extLst>
          </p:cNvPr>
          <p:cNvSpPr/>
          <p:nvPr/>
        </p:nvSpPr>
        <p:spPr>
          <a:xfrm>
            <a:off x="8208000" y="3393714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156" name="Afrundet rektangel 92">
            <a:extLst>
              <a:ext uri="{FF2B5EF4-FFF2-40B4-BE49-F238E27FC236}">
                <a16:creationId xmlns:a16="http://schemas.microsoft.com/office/drawing/2014/main" id="{DFCF3E60-81F7-4F9E-B8EC-F50F1E1AE538}"/>
              </a:ext>
            </a:extLst>
          </p:cNvPr>
          <p:cNvSpPr/>
          <p:nvPr/>
        </p:nvSpPr>
        <p:spPr>
          <a:xfrm>
            <a:off x="6984000" y="4581594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7</a:t>
            </a:r>
          </a:p>
        </p:txBody>
      </p:sp>
      <p:sp>
        <p:nvSpPr>
          <p:cNvPr id="152" name="Afrundet rektangel 92">
            <a:extLst>
              <a:ext uri="{FF2B5EF4-FFF2-40B4-BE49-F238E27FC236}">
                <a16:creationId xmlns:a16="http://schemas.microsoft.com/office/drawing/2014/main" id="{1323EA5E-0A84-43EC-B40D-9A847B62CE70}"/>
              </a:ext>
            </a:extLst>
          </p:cNvPr>
          <p:cNvSpPr/>
          <p:nvPr/>
        </p:nvSpPr>
        <p:spPr>
          <a:xfrm>
            <a:off x="6984000" y="487752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23" name="Afrundet rektangel 92">
            <a:extLst>
              <a:ext uri="{FF2B5EF4-FFF2-40B4-BE49-F238E27FC236}">
                <a16:creationId xmlns:a16="http://schemas.microsoft.com/office/drawing/2014/main" id="{4528B8FA-E2DE-9434-10C2-7A649BEDABDB}"/>
              </a:ext>
            </a:extLst>
          </p:cNvPr>
          <p:cNvSpPr/>
          <p:nvPr/>
        </p:nvSpPr>
        <p:spPr>
          <a:xfrm>
            <a:off x="8208000" y="3687229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5</a:t>
            </a:r>
          </a:p>
        </p:txBody>
      </p:sp>
      <p:sp>
        <p:nvSpPr>
          <p:cNvPr id="243" name="Afrundet rektangel 92">
            <a:extLst>
              <a:ext uri="{FF2B5EF4-FFF2-40B4-BE49-F238E27FC236}">
                <a16:creationId xmlns:a16="http://schemas.microsoft.com/office/drawing/2014/main" id="{92245D4F-35B0-8286-23C5-9C158EE8AD20}"/>
              </a:ext>
            </a:extLst>
          </p:cNvPr>
          <p:cNvSpPr/>
          <p:nvPr/>
        </p:nvSpPr>
        <p:spPr>
          <a:xfrm>
            <a:off x="8208000" y="398507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6</a:t>
            </a: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pic>
        <p:nvPicPr>
          <p:cNvPr id="255" name="Billede 254" descr="Et billede, der indeholder tekst, Font/skrifttype, Grafik, grafisk design&#10;&#10;Automatisk genereret beskrivelse">
            <a:extLst>
              <a:ext uri="{FF2B5EF4-FFF2-40B4-BE49-F238E27FC236}">
                <a16:creationId xmlns:a16="http://schemas.microsoft.com/office/drawing/2014/main" id="{357F2C83-0A65-1D84-4D74-3CC98CB641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728" y="390845"/>
            <a:ext cx="1506938" cy="377126"/>
          </a:xfrm>
          <a:prstGeom prst="rect">
            <a:avLst/>
          </a:prstGeom>
        </p:spPr>
      </p:pic>
      <p:cxnSp>
        <p:nvCxnSpPr>
          <p:cNvPr id="236" name="Forbindelse: vinklet 235">
            <a:extLst>
              <a:ext uri="{FF2B5EF4-FFF2-40B4-BE49-F238E27FC236}">
                <a16:creationId xmlns:a16="http://schemas.microsoft.com/office/drawing/2014/main" id="{B68227EF-2F03-119B-E271-F2C2EE072BB4}"/>
              </a:ext>
            </a:extLst>
          </p:cNvPr>
          <p:cNvCxnSpPr>
            <a:cxnSpLocks/>
          </p:cNvCxnSpPr>
          <p:nvPr/>
        </p:nvCxnSpPr>
        <p:spPr>
          <a:xfrm rot="16200000" flipH="1">
            <a:off x="5829118" y="-3433299"/>
            <a:ext cx="17895" cy="9948133"/>
          </a:xfrm>
          <a:prstGeom prst="bentConnector4">
            <a:avLst>
              <a:gd name="adj1" fmla="val -471752"/>
              <a:gd name="adj2" fmla="val 99999"/>
            </a:avLst>
          </a:prstGeom>
          <a:ln>
            <a:solidFill>
              <a:srgbClr val="1414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Lige forbindelse 238">
            <a:extLst>
              <a:ext uri="{FF2B5EF4-FFF2-40B4-BE49-F238E27FC236}">
                <a16:creationId xmlns:a16="http://schemas.microsoft.com/office/drawing/2014/main" id="{CC69351E-6F1D-1C76-74C5-94584DCDE7D4}"/>
              </a:ext>
            </a:extLst>
          </p:cNvPr>
          <p:cNvCxnSpPr>
            <a:cxnSpLocks/>
          </p:cNvCxnSpPr>
          <p:nvPr/>
        </p:nvCxnSpPr>
        <p:spPr>
          <a:xfrm flipV="1">
            <a:off x="2232000" y="1444062"/>
            <a:ext cx="0" cy="103938"/>
          </a:xfrm>
          <a:prstGeom prst="line">
            <a:avLst/>
          </a:prstGeom>
          <a:ln>
            <a:solidFill>
              <a:srgbClr val="1414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Lige forbindelse 240">
            <a:extLst>
              <a:ext uri="{FF2B5EF4-FFF2-40B4-BE49-F238E27FC236}">
                <a16:creationId xmlns:a16="http://schemas.microsoft.com/office/drawing/2014/main" id="{507CEBA1-E7DF-29B0-4B45-AB21D0B66D9D}"/>
              </a:ext>
            </a:extLst>
          </p:cNvPr>
          <p:cNvCxnSpPr>
            <a:cxnSpLocks/>
            <a:stCxn id="5" idx="0"/>
          </p:cNvCxnSpPr>
          <p:nvPr/>
        </p:nvCxnSpPr>
        <p:spPr>
          <a:xfrm flipV="1">
            <a:off x="3600000" y="1444062"/>
            <a:ext cx="0" cy="105268"/>
          </a:xfrm>
          <a:prstGeom prst="line">
            <a:avLst/>
          </a:prstGeom>
          <a:ln>
            <a:solidFill>
              <a:srgbClr val="1414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Lige forbindelse 245">
            <a:extLst>
              <a:ext uri="{FF2B5EF4-FFF2-40B4-BE49-F238E27FC236}">
                <a16:creationId xmlns:a16="http://schemas.microsoft.com/office/drawing/2014/main" id="{E5EA70FB-C439-112D-04EB-23FC3B4F7651}"/>
              </a:ext>
            </a:extLst>
          </p:cNvPr>
          <p:cNvCxnSpPr>
            <a:cxnSpLocks/>
          </p:cNvCxnSpPr>
          <p:nvPr/>
        </p:nvCxnSpPr>
        <p:spPr>
          <a:xfrm flipV="1">
            <a:off x="8446610" y="1448124"/>
            <a:ext cx="0" cy="99876"/>
          </a:xfrm>
          <a:prstGeom prst="line">
            <a:avLst/>
          </a:prstGeom>
          <a:ln>
            <a:solidFill>
              <a:srgbClr val="1414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Pladsholder til tekst 22">
            <a:extLst>
              <a:ext uri="{FF2B5EF4-FFF2-40B4-BE49-F238E27FC236}">
                <a16:creationId xmlns:a16="http://schemas.microsoft.com/office/drawing/2014/main" id="{F5F3CA6D-3861-B485-5DDA-6D8B80DB2E83}"/>
              </a:ext>
            </a:extLst>
          </p:cNvPr>
          <p:cNvSpPr txBox="1">
            <a:spLocks/>
          </p:cNvSpPr>
          <p:nvPr/>
        </p:nvSpPr>
        <p:spPr>
          <a:xfrm>
            <a:off x="4319999" y="5482180"/>
            <a:ext cx="2520000" cy="216076"/>
          </a:xfrm>
          <a:prstGeom prst="rect">
            <a:avLst/>
          </a:prstGeom>
        </p:spPr>
        <p:txBody>
          <a:bodyPr/>
          <a:lstStyle>
            <a:lvl1pPr marL="0" indent="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3420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385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2564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4542" indent="-171450" algn="l" defTabSz="914286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85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26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1" indent="-228573" algn="l" defTabSz="9142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Roskilde/Trekroner/Maribo/Herning</a:t>
            </a:r>
          </a:p>
        </p:txBody>
      </p:sp>
      <p:sp>
        <p:nvSpPr>
          <p:cNvPr id="230" name="Afrundet rektangel 92">
            <a:extLst>
              <a:ext uri="{FF2B5EF4-FFF2-40B4-BE49-F238E27FC236}">
                <a16:creationId xmlns:a16="http://schemas.microsoft.com/office/drawing/2014/main" id="{AA6EA0EF-696A-8FDD-3480-5F317F05482A}"/>
              </a:ext>
            </a:extLst>
          </p:cNvPr>
          <p:cNvSpPr/>
          <p:nvPr/>
        </p:nvSpPr>
        <p:spPr>
          <a:xfrm>
            <a:off x="5616000" y="356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6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31" name="Afrundet rektangel 92">
            <a:extLst>
              <a:ext uri="{FF2B5EF4-FFF2-40B4-BE49-F238E27FC236}">
                <a16:creationId xmlns:a16="http://schemas.microsoft.com/office/drawing/2014/main" id="{DF271D8C-635D-EBCC-7C8D-99963FE9032B}"/>
              </a:ext>
            </a:extLst>
          </p:cNvPr>
          <p:cNvSpPr/>
          <p:nvPr/>
        </p:nvSpPr>
        <p:spPr>
          <a:xfrm>
            <a:off x="8208000" y="4273688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8</a:t>
            </a:r>
            <a:endParaRPr lang="da-DK" sz="650" dirty="0">
              <a:solidFill>
                <a:srgbClr val="14143C"/>
              </a:solidFill>
              <a:latin typeface="Academy Sans Office" panose="020B0503030000000000" pitchFamily="34" charset="0"/>
            </a:endParaRPr>
          </a:p>
        </p:txBody>
      </p:sp>
      <p:sp>
        <p:nvSpPr>
          <p:cNvPr id="232" name="Afrundet rektangel 28">
            <a:extLst>
              <a:ext uri="{FF2B5EF4-FFF2-40B4-BE49-F238E27FC236}">
                <a16:creationId xmlns:a16="http://schemas.microsoft.com/office/drawing/2014/main" id="{55DF0F34-B89A-B673-A80A-10D99D22AF85}"/>
              </a:ext>
            </a:extLst>
          </p:cNvPr>
          <p:cNvSpPr/>
          <p:nvPr/>
        </p:nvSpPr>
        <p:spPr>
          <a:xfrm>
            <a:off x="10800000" y="3617712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33" name="Afrundet rektangel 28">
            <a:extLst>
              <a:ext uri="{FF2B5EF4-FFF2-40B4-BE49-F238E27FC236}">
                <a16:creationId xmlns:a16="http://schemas.microsoft.com/office/drawing/2014/main" id="{361713BA-7EED-3478-B0D0-D17A6E767E53}"/>
              </a:ext>
            </a:extLst>
          </p:cNvPr>
          <p:cNvSpPr/>
          <p:nvPr/>
        </p:nvSpPr>
        <p:spPr>
          <a:xfrm>
            <a:off x="10800000" y="3993913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1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35" name="Afrundet rektangel 92">
            <a:extLst>
              <a:ext uri="{FF2B5EF4-FFF2-40B4-BE49-F238E27FC236}">
                <a16:creationId xmlns:a16="http://schemas.microsoft.com/office/drawing/2014/main" id="{3FE71325-97FD-3D92-BC3D-E77D105B2DC7}"/>
              </a:ext>
            </a:extLst>
          </p:cNvPr>
          <p:cNvSpPr/>
          <p:nvPr/>
        </p:nvSpPr>
        <p:spPr>
          <a:xfrm>
            <a:off x="8208000" y="4561686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19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                    	 </a:t>
            </a:r>
          </a:p>
        </p:txBody>
      </p:sp>
      <p:sp>
        <p:nvSpPr>
          <p:cNvPr id="238" name="Afrundet rektangel 92">
            <a:extLst>
              <a:ext uri="{FF2B5EF4-FFF2-40B4-BE49-F238E27FC236}">
                <a16:creationId xmlns:a16="http://schemas.microsoft.com/office/drawing/2014/main" id="{4B660E88-413D-D5F5-C996-1992AD902170}"/>
              </a:ext>
            </a:extLst>
          </p:cNvPr>
          <p:cNvSpPr/>
          <p:nvPr/>
        </p:nvSpPr>
        <p:spPr>
          <a:xfrm>
            <a:off x="8208000" y="4859526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20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	 </a:t>
            </a:r>
          </a:p>
        </p:txBody>
      </p:sp>
      <p:sp>
        <p:nvSpPr>
          <p:cNvPr id="247" name="Afrundet rektangel 92">
            <a:extLst>
              <a:ext uri="{FF2B5EF4-FFF2-40B4-BE49-F238E27FC236}">
                <a16:creationId xmlns:a16="http://schemas.microsoft.com/office/drawing/2014/main" id="{5DFA565C-E1CD-75ED-7988-E77493A12F9E}"/>
              </a:ext>
            </a:extLst>
          </p:cNvPr>
          <p:cNvSpPr/>
          <p:nvPr/>
        </p:nvSpPr>
        <p:spPr>
          <a:xfrm>
            <a:off x="5616000" y="327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5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51" name="Afrundet rektangel 92">
            <a:extLst>
              <a:ext uri="{FF2B5EF4-FFF2-40B4-BE49-F238E27FC236}">
                <a16:creationId xmlns:a16="http://schemas.microsoft.com/office/drawing/2014/main" id="{C6649BF8-2794-AA47-6604-0753467FE3F5}"/>
              </a:ext>
            </a:extLst>
          </p:cNvPr>
          <p:cNvSpPr/>
          <p:nvPr/>
        </p:nvSpPr>
        <p:spPr>
          <a:xfrm>
            <a:off x="5616000" y="3852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7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53" name="Afrundet rektangel 92">
            <a:extLst>
              <a:ext uri="{FF2B5EF4-FFF2-40B4-BE49-F238E27FC236}">
                <a16:creationId xmlns:a16="http://schemas.microsoft.com/office/drawing/2014/main" id="{4527A3DB-A54A-4A4C-8D9D-33917D108D50}"/>
              </a:ext>
            </a:extLst>
          </p:cNvPr>
          <p:cNvSpPr/>
          <p:nvPr/>
        </p:nvSpPr>
        <p:spPr>
          <a:xfrm>
            <a:off x="5616000" y="4140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18</a:t>
            </a:r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6" name="Afrundet rektangel 28">
            <a:extLst>
              <a:ext uri="{FF2B5EF4-FFF2-40B4-BE49-F238E27FC236}">
                <a16:creationId xmlns:a16="http://schemas.microsoft.com/office/drawing/2014/main" id="{D12488A0-5A23-DFCB-E59D-D36D65F8960C}"/>
              </a:ext>
            </a:extLst>
          </p:cNvPr>
          <p:cNvSpPr/>
          <p:nvPr/>
        </p:nvSpPr>
        <p:spPr>
          <a:xfrm>
            <a:off x="10800000" y="302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8</a:t>
            </a:r>
          </a:p>
        </p:txBody>
      </p:sp>
      <p:sp>
        <p:nvSpPr>
          <p:cNvPr id="257" name="Afrundet rektangel 28">
            <a:extLst>
              <a:ext uri="{FF2B5EF4-FFF2-40B4-BE49-F238E27FC236}">
                <a16:creationId xmlns:a16="http://schemas.microsoft.com/office/drawing/2014/main" id="{7E3D2549-EAA6-8E28-41E8-A3F5001916AA}"/>
              </a:ext>
            </a:extLst>
          </p:cNvPr>
          <p:cNvSpPr/>
          <p:nvPr/>
        </p:nvSpPr>
        <p:spPr>
          <a:xfrm>
            <a:off x="10800000" y="3321236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9</a:t>
            </a:r>
          </a:p>
        </p:txBody>
      </p:sp>
      <p:sp>
        <p:nvSpPr>
          <p:cNvPr id="229" name="Afrundet rektangel 92">
            <a:extLst>
              <a:ext uri="{FF2B5EF4-FFF2-40B4-BE49-F238E27FC236}">
                <a16:creationId xmlns:a16="http://schemas.microsoft.com/office/drawing/2014/main" id="{FFDD4620-579D-D52B-F4D6-9BA18A0A554B}"/>
              </a:ext>
            </a:extLst>
          </p:cNvPr>
          <p:cNvSpPr/>
          <p:nvPr/>
        </p:nvSpPr>
        <p:spPr>
          <a:xfrm>
            <a:off x="8208000" y="5161876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2.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	 </a:t>
            </a:r>
          </a:p>
        </p:txBody>
      </p:sp>
      <p:sp>
        <p:nvSpPr>
          <p:cNvPr id="234" name="Afrundet rektangel 92">
            <a:extLst>
              <a:ext uri="{FF2B5EF4-FFF2-40B4-BE49-F238E27FC236}">
                <a16:creationId xmlns:a16="http://schemas.microsoft.com/office/drawing/2014/main" id="{FAC41717-E6EA-6B60-E648-DE280E014718}"/>
              </a:ext>
            </a:extLst>
          </p:cNvPr>
          <p:cNvSpPr/>
          <p:nvPr/>
        </p:nvSpPr>
        <p:spPr>
          <a:xfrm>
            <a:off x="4392000" y="4824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highlight>
                <a:srgbClr val="FFFF00"/>
              </a:highlight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61" name="Afrundet rektangel 28">
            <a:extLst>
              <a:ext uri="{FF2B5EF4-FFF2-40B4-BE49-F238E27FC236}">
                <a16:creationId xmlns:a16="http://schemas.microsoft.com/office/drawing/2014/main" id="{82D75D01-4DDD-6F2D-19F9-9A8B8C5359EC}"/>
              </a:ext>
            </a:extLst>
          </p:cNvPr>
          <p:cNvSpPr/>
          <p:nvPr/>
        </p:nvSpPr>
        <p:spPr>
          <a:xfrm>
            <a:off x="3024000" y="351276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Procesoptimering og Automatise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62" name="Afrundet rektangel 28">
            <a:extLst>
              <a:ext uri="{FF2B5EF4-FFF2-40B4-BE49-F238E27FC236}">
                <a16:creationId xmlns:a16="http://schemas.microsoft.com/office/drawing/2014/main" id="{038E0530-A2C6-7FDD-5960-BB94BD944AC9}"/>
              </a:ext>
            </a:extLst>
          </p:cNvPr>
          <p:cNvSpPr/>
          <p:nvPr/>
        </p:nvSpPr>
        <p:spPr>
          <a:xfrm>
            <a:off x="288000" y="353176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Sikkerhed og Beredsk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64" name="Afrundet rektangel 28">
            <a:extLst>
              <a:ext uri="{FF2B5EF4-FFF2-40B4-BE49-F238E27FC236}">
                <a16:creationId xmlns:a16="http://schemas.microsoft.com/office/drawing/2014/main" id="{CC9DDC03-CB9B-0021-FACB-BD8E76ABB164}"/>
              </a:ext>
            </a:extLst>
          </p:cNvPr>
          <p:cNvSpPr/>
          <p:nvPr/>
        </p:nvSpPr>
        <p:spPr>
          <a:xfrm>
            <a:off x="1656000" y="2628000"/>
            <a:ext cx="1152000" cy="43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Arial"/>
              </a:rPr>
              <a:t>Forretningsudvikling  Ejendomsbeskat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sz="7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r>
              <a:rPr kumimoji="0" lang="da-DK" sz="70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             </a:t>
            </a: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Arial"/>
            </a:endParaRPr>
          </a:p>
        </p:txBody>
      </p:sp>
      <p:cxnSp>
        <p:nvCxnSpPr>
          <p:cNvPr id="281" name="Lige forbindelse 280">
            <a:extLst>
              <a:ext uri="{FF2B5EF4-FFF2-40B4-BE49-F238E27FC236}">
                <a16:creationId xmlns:a16="http://schemas.microsoft.com/office/drawing/2014/main" id="{45D37BCD-CF91-5B51-728B-F1523DC71DA7}"/>
              </a:ext>
            </a:extLst>
          </p:cNvPr>
          <p:cNvCxnSpPr>
            <a:cxnSpLocks/>
          </p:cNvCxnSpPr>
          <p:nvPr/>
        </p:nvCxnSpPr>
        <p:spPr>
          <a:xfrm flipV="1">
            <a:off x="5970258" y="1345595"/>
            <a:ext cx="0" cy="102529"/>
          </a:xfrm>
          <a:prstGeom prst="line">
            <a:avLst/>
          </a:prstGeom>
          <a:ln>
            <a:solidFill>
              <a:srgbClr val="1414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frundet rektangel 28">
            <a:extLst>
              <a:ext uri="{FF2B5EF4-FFF2-40B4-BE49-F238E27FC236}">
                <a16:creationId xmlns:a16="http://schemas.microsoft.com/office/drawing/2014/main" id="{E6768CBA-9467-7DC8-70AC-FA3D26F2F0AB}"/>
              </a:ext>
            </a:extLst>
          </p:cNvPr>
          <p:cNvSpPr/>
          <p:nvPr/>
        </p:nvSpPr>
        <p:spPr>
          <a:xfrm>
            <a:off x="1656000" y="309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600" dirty="0">
              <a:solidFill>
                <a:srgbClr val="14143C"/>
              </a:solidFill>
              <a:latin typeface="Academy Sans Office" panose="020B0503030000000000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data og BI</a:t>
            </a:r>
            <a:r>
              <a:rPr kumimoji="0" lang="da-DK" sz="650" b="0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9" name="Afrundet rektangel 28">
            <a:extLst>
              <a:ext uri="{FF2B5EF4-FFF2-40B4-BE49-F238E27FC236}">
                <a16:creationId xmlns:a16="http://schemas.microsoft.com/office/drawing/2014/main" id="{BD31ADEC-877D-0A91-10C0-B793BE2DF0A0}"/>
              </a:ext>
            </a:extLst>
          </p:cNvPr>
          <p:cNvSpPr/>
          <p:nvPr/>
        </p:nvSpPr>
        <p:spPr>
          <a:xfrm>
            <a:off x="3024000" y="387276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Modeludvikling og Økonomisk analyse</a:t>
            </a:r>
          </a:p>
        </p:txBody>
      </p:sp>
      <p:sp>
        <p:nvSpPr>
          <p:cNvPr id="17" name="Afrundet rektangel 92">
            <a:extLst>
              <a:ext uri="{FF2B5EF4-FFF2-40B4-BE49-F238E27FC236}">
                <a16:creationId xmlns:a16="http://schemas.microsoft.com/office/drawing/2014/main" id="{1C60C2C9-61F8-1A95-5435-BF4C91C1BE73}"/>
              </a:ext>
            </a:extLst>
          </p:cNvPr>
          <p:cNvSpPr/>
          <p:nvPr/>
        </p:nvSpPr>
        <p:spPr>
          <a:xfrm>
            <a:off x="4392000" y="208736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Produktionsstyring og </a:t>
            </a:r>
            <a:b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</a:b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aglig afklaring</a:t>
            </a:r>
          </a:p>
        </p:txBody>
      </p:sp>
      <p:sp>
        <p:nvSpPr>
          <p:cNvPr id="19" name="Afrundet rektangel 92">
            <a:extLst>
              <a:ext uri="{FF2B5EF4-FFF2-40B4-BE49-F238E27FC236}">
                <a16:creationId xmlns:a16="http://schemas.microsoft.com/office/drawing/2014/main" id="{75AE9484-4477-8FD0-93B7-660C7DF751F0}"/>
              </a:ext>
            </a:extLst>
          </p:cNvPr>
          <p:cNvSpPr/>
          <p:nvPr/>
        </p:nvSpPr>
        <p:spPr>
          <a:xfrm>
            <a:off x="5616000" y="2088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Aptos" panose="020B0004020202020204" pitchFamily="34" charset="0"/>
                <a:cs typeface="Aptos" panose="020B0004020202020204" pitchFamily="34" charset="0"/>
              </a:rPr>
              <a:t>Instruks erhverv </a:t>
            </a:r>
          </a:p>
        </p:txBody>
      </p:sp>
      <p:sp>
        <p:nvSpPr>
          <p:cNvPr id="20" name="Afrundet rektangel 92">
            <a:extLst>
              <a:ext uri="{FF2B5EF4-FFF2-40B4-BE49-F238E27FC236}">
                <a16:creationId xmlns:a16="http://schemas.microsoft.com/office/drawing/2014/main" id="{FCA9CEF3-4F55-5C3F-CE4C-FF6656CDD70E}"/>
              </a:ext>
            </a:extLst>
          </p:cNvPr>
          <p:cNvSpPr/>
          <p:nvPr/>
        </p:nvSpPr>
        <p:spPr>
          <a:xfrm>
            <a:off x="4392000" y="2448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Kvalitet erhverv</a:t>
            </a:r>
          </a:p>
        </p:txBody>
      </p:sp>
      <p:sp>
        <p:nvSpPr>
          <p:cNvPr id="21" name="Afrundet rektangel 92">
            <a:extLst>
              <a:ext uri="{FF2B5EF4-FFF2-40B4-BE49-F238E27FC236}">
                <a16:creationId xmlns:a16="http://schemas.microsoft.com/office/drawing/2014/main" id="{5FD6CE25-9DEA-2AAC-FF66-86BE2BE4CDE2}"/>
              </a:ext>
            </a:extLst>
          </p:cNvPr>
          <p:cNvSpPr/>
          <p:nvPr/>
        </p:nvSpPr>
        <p:spPr>
          <a:xfrm>
            <a:off x="6984000" y="2088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aglige afklar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rboliger</a:t>
            </a:r>
          </a:p>
        </p:txBody>
      </p:sp>
      <p:sp>
        <p:nvSpPr>
          <p:cNvPr id="29" name="Afrundet rektangel 92">
            <a:extLst>
              <a:ext uri="{FF2B5EF4-FFF2-40B4-BE49-F238E27FC236}">
                <a16:creationId xmlns:a16="http://schemas.microsoft.com/office/drawing/2014/main" id="{6AA6A618-DA30-5A7F-1B5E-F9D1228DF0BA}"/>
              </a:ext>
            </a:extLst>
          </p:cNvPr>
          <p:cNvSpPr/>
          <p:nvPr/>
        </p:nvSpPr>
        <p:spPr>
          <a:xfrm>
            <a:off x="8217943" y="2086641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Kvalit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rboli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24" name="Afrundet rektangel 92">
            <a:extLst>
              <a:ext uri="{FF2B5EF4-FFF2-40B4-BE49-F238E27FC236}">
                <a16:creationId xmlns:a16="http://schemas.microsoft.com/office/drawing/2014/main" id="{949368D8-A896-EC68-7CD8-0523191C8DF2}"/>
              </a:ext>
            </a:extLst>
          </p:cNvPr>
          <p:cNvSpPr/>
          <p:nvPr/>
        </p:nvSpPr>
        <p:spPr>
          <a:xfrm>
            <a:off x="6984000" y="2448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Produktionssty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rbolig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52" name="Afrundet rektangel 28">
            <a:extLst>
              <a:ext uri="{FF2B5EF4-FFF2-40B4-BE49-F238E27FC236}">
                <a16:creationId xmlns:a16="http://schemas.microsoft.com/office/drawing/2014/main" id="{E0A73DD0-B1DB-1AC8-67C0-3C48B3962C40}"/>
              </a:ext>
            </a:extLst>
          </p:cNvPr>
          <p:cNvSpPr/>
          <p:nvPr/>
        </p:nvSpPr>
        <p:spPr>
          <a:xfrm>
            <a:off x="9576000" y="2088000"/>
            <a:ext cx="1152000" cy="43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Instrukser og Driftsprocesser</a:t>
            </a:r>
            <a:r>
              <a:rPr lang="da-DK" sz="600" dirty="0">
                <a:solidFill>
                  <a:srgbClr val="14143C"/>
                </a:solidFill>
                <a:latin typeface="Academy Sans Office" panose="020B0503030000000000" pitchFamily="34" charset="0"/>
              </a:rPr>
              <a:t>  </a:t>
            </a:r>
          </a:p>
        </p:txBody>
      </p:sp>
      <p:sp>
        <p:nvSpPr>
          <p:cNvPr id="32" name="Afrundet rektangel 28">
            <a:extLst>
              <a:ext uri="{FF2B5EF4-FFF2-40B4-BE49-F238E27FC236}">
                <a16:creationId xmlns:a16="http://schemas.microsoft.com/office/drawing/2014/main" id="{252CAB37-72CE-766D-F686-E9BD9B9F8677}"/>
              </a:ext>
            </a:extLst>
          </p:cNvPr>
          <p:cNvSpPr/>
          <p:nvPr/>
        </p:nvSpPr>
        <p:spPr>
          <a:xfrm>
            <a:off x="9576000" y="291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34" name="Afrundet rektangel 28">
            <a:extLst>
              <a:ext uri="{FF2B5EF4-FFF2-40B4-BE49-F238E27FC236}">
                <a16:creationId xmlns:a16="http://schemas.microsoft.com/office/drawing/2014/main" id="{A3902374-8CA8-9476-2694-7FCC2CD80B59}"/>
              </a:ext>
            </a:extLst>
          </p:cNvPr>
          <p:cNvSpPr/>
          <p:nvPr/>
        </p:nvSpPr>
        <p:spPr>
          <a:xfrm>
            <a:off x="10800000" y="2088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Produktionsstyring beskat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40" name="Afrundet rektangel 28">
            <a:extLst>
              <a:ext uri="{FF2B5EF4-FFF2-40B4-BE49-F238E27FC236}">
                <a16:creationId xmlns:a16="http://schemas.microsoft.com/office/drawing/2014/main" id="{38210D4E-021F-3198-2BBF-7C4BF080D826}"/>
              </a:ext>
            </a:extLst>
          </p:cNvPr>
          <p:cNvSpPr/>
          <p:nvPr/>
        </p:nvSpPr>
        <p:spPr>
          <a:xfrm>
            <a:off x="9576000" y="2556000"/>
            <a:ext cx="1152000" cy="324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Faglige afklaring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beskatning </a:t>
            </a:r>
          </a:p>
        </p:txBody>
      </p:sp>
      <p:sp>
        <p:nvSpPr>
          <p:cNvPr id="47" name="Afrundet rektangel 28">
            <a:extLst>
              <a:ext uri="{FF2B5EF4-FFF2-40B4-BE49-F238E27FC236}">
                <a16:creationId xmlns:a16="http://schemas.microsoft.com/office/drawing/2014/main" id="{3AC52401-DC90-4A56-A740-E4F05CAF81BD}"/>
              </a:ext>
            </a:extLst>
          </p:cNvPr>
          <p:cNvSpPr/>
          <p:nvPr/>
        </p:nvSpPr>
        <p:spPr>
          <a:xfrm>
            <a:off x="10800000" y="2736000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beskatning 1.7</a:t>
            </a:r>
          </a:p>
        </p:txBody>
      </p:sp>
      <p:sp>
        <p:nvSpPr>
          <p:cNvPr id="55" name="Afrundet rektangel 92">
            <a:extLst>
              <a:ext uri="{FF2B5EF4-FFF2-40B4-BE49-F238E27FC236}">
                <a16:creationId xmlns:a16="http://schemas.microsoft.com/office/drawing/2014/main" id="{6F1366FA-687A-B42A-8155-F65020006639}"/>
              </a:ext>
            </a:extLst>
          </p:cNvPr>
          <p:cNvSpPr/>
          <p:nvPr/>
        </p:nvSpPr>
        <p:spPr>
          <a:xfrm>
            <a:off x="5616000" y="4443901"/>
            <a:ext cx="1152000" cy="252000"/>
          </a:xfrm>
          <a:prstGeom prst="roundRect">
            <a:avLst>
              <a:gd name="adj" fmla="val 0"/>
            </a:avLst>
          </a:prstGeom>
          <a:solidFill>
            <a:srgbClr val="D0D0D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50" b="1" i="0" u="none" strike="noStrike" kern="1200" cap="none" spc="0" normalizeH="0" baseline="0" noProof="0" dirty="0">
                <a:ln>
                  <a:noFill/>
                </a:ln>
                <a:solidFill>
                  <a:srgbClr val="14143C"/>
                </a:solidFill>
                <a:effectLst/>
                <a:uLnTx/>
                <a:uFillTx/>
                <a:latin typeface="Academy Sans Office" panose="020B0503030000000000" pitchFamily="34" charset="0"/>
                <a:ea typeface="+mn-ea"/>
                <a:cs typeface="+mn-cs"/>
              </a:rPr>
              <a:t>Ejendomsvurdering 1.20</a:t>
            </a: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0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srgbClr val="14143C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  <p:sp>
        <p:nvSpPr>
          <p:cNvPr id="259" name="Afrundet rektangel 5">
            <a:extLst>
              <a:ext uri="{FF2B5EF4-FFF2-40B4-BE49-F238E27FC236}">
                <a16:creationId xmlns:a16="http://schemas.microsoft.com/office/drawing/2014/main" id="{5017E851-F935-6272-A716-FD9674A8AADA}"/>
              </a:ext>
            </a:extLst>
          </p:cNvPr>
          <p:cNvSpPr/>
          <p:nvPr/>
        </p:nvSpPr>
        <p:spPr>
          <a:xfrm>
            <a:off x="9504000" y="1549330"/>
            <a:ext cx="2520000" cy="3204000"/>
          </a:xfrm>
          <a:prstGeom prst="roundRect">
            <a:avLst>
              <a:gd name="adj" fmla="val 0"/>
            </a:avLst>
          </a:prstGeom>
          <a:noFill/>
          <a:ln w="6350">
            <a:solidFill>
              <a:srgbClr val="141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ademy Sans Office" panose="020B0503030000000000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590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Vurderingsstyrelsens farver">
      <a:dk1>
        <a:srgbClr val="14143C"/>
      </a:dk1>
      <a:lt1>
        <a:srgbClr val="FFFFFF"/>
      </a:lt1>
      <a:dk2>
        <a:srgbClr val="D1C5C3"/>
      </a:dk2>
      <a:lt2>
        <a:srgbClr val="E8E2E1"/>
      </a:lt2>
      <a:accent1>
        <a:srgbClr val="14143C"/>
      </a:accent1>
      <a:accent2>
        <a:srgbClr val="72728A"/>
      </a:accent2>
      <a:accent3>
        <a:srgbClr val="D0D0D8"/>
      </a:accent3>
      <a:accent4>
        <a:srgbClr val="FF620C"/>
      </a:accent4>
      <a:accent5>
        <a:srgbClr val="FFA16D"/>
      </a:accent5>
      <a:accent6>
        <a:srgbClr val="FFD0B6"/>
      </a:accent6>
      <a:hlink>
        <a:srgbClr val="14143C"/>
      </a:hlink>
      <a:folHlink>
        <a:srgbClr val="14143C"/>
      </a:folHlink>
    </a:clrScheme>
    <a:fontScheme name="Brugerdefineret 1">
      <a:majorFont>
        <a:latin typeface="Academy Sans Office Black"/>
        <a:ea typeface=""/>
        <a:cs typeface=""/>
      </a:majorFont>
      <a:minorFont>
        <a:latin typeface="Academy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11000"/>
          </a:lnSpc>
          <a:defRPr sz="15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1000"/>
          </a:lnSpc>
          <a:defRPr sz="1500" dirty="0" err="1"/>
        </a:defPPr>
      </a:lstStyle>
    </a:txDef>
  </a:objectDefaults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AECBDA"/>
    </a:custClr>
    <a:custClr name="Color has no name">
      <a:srgbClr val="2E99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CEE0E9"/>
    </a:custClr>
    <a:custClr name="Color has no name">
      <a:srgbClr val="82C2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E7EFF4"/>
    </a:custClr>
    <a:custClr name="Color has no name">
      <a:srgbClr val="C0E0F4"/>
    </a:custClr>
  </a:custClrLst>
  <a:extLst>
    <a:ext uri="{05A4C25C-085E-4340-85A3-A5531E510DB2}">
      <thm15:themeFamily xmlns:thm15="http://schemas.microsoft.com/office/thememl/2012/main" name="Præsentation3" id="{8A383EC8-E1ED-4B1C-83AB-FCF358346DEC}" vid="{0C72CF74-2798-4B32-9DC5-580244860031}"/>
    </a:ext>
  </a:extLst>
</a:theme>
</file>

<file path=ppt/theme/theme2.xml><?xml version="1.0" encoding="utf-8"?>
<a:theme xmlns:a="http://schemas.openxmlformats.org/drawingml/2006/main" name="1_Blank">
  <a:themeElements>
    <a:clrScheme name="Vurderingsstyrelsens farver">
      <a:dk1>
        <a:srgbClr val="14143C"/>
      </a:dk1>
      <a:lt1>
        <a:srgbClr val="FFFFFF"/>
      </a:lt1>
      <a:dk2>
        <a:srgbClr val="D1C5C3"/>
      </a:dk2>
      <a:lt2>
        <a:srgbClr val="E8E2E1"/>
      </a:lt2>
      <a:accent1>
        <a:srgbClr val="14143C"/>
      </a:accent1>
      <a:accent2>
        <a:srgbClr val="72728A"/>
      </a:accent2>
      <a:accent3>
        <a:srgbClr val="D0D0D8"/>
      </a:accent3>
      <a:accent4>
        <a:srgbClr val="FF620C"/>
      </a:accent4>
      <a:accent5>
        <a:srgbClr val="FFA16D"/>
      </a:accent5>
      <a:accent6>
        <a:srgbClr val="FFD0B6"/>
      </a:accent6>
      <a:hlink>
        <a:srgbClr val="14143C"/>
      </a:hlink>
      <a:folHlink>
        <a:srgbClr val="14143C"/>
      </a:folHlink>
    </a:clrScheme>
    <a:fontScheme name="Brugerdefineret 1">
      <a:majorFont>
        <a:latin typeface="Academy Sans Office Black"/>
        <a:ea typeface=""/>
        <a:cs typeface=""/>
      </a:majorFont>
      <a:minorFont>
        <a:latin typeface="Academy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11000"/>
          </a:lnSpc>
          <a:defRPr sz="15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1000"/>
          </a:lnSpc>
          <a:defRPr sz="1500" dirty="0" err="1"/>
        </a:defPPr>
      </a:lstStyle>
    </a:txDef>
  </a:objectDefaults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AECBDA"/>
    </a:custClr>
    <a:custClr name="Color has no name">
      <a:srgbClr val="2E99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CEE0E9"/>
    </a:custClr>
    <a:custClr name="Color has no name">
      <a:srgbClr val="82C2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E7EFF4"/>
    </a:custClr>
    <a:custClr name="Color has no name">
      <a:srgbClr val="C0E0F4"/>
    </a:custClr>
  </a:custClrLst>
  <a:extLst>
    <a:ext uri="{05A4C25C-085E-4340-85A3-A5531E510DB2}">
      <thm15:themeFamily xmlns:thm15="http://schemas.microsoft.com/office/thememl/2012/main" name="Præsentation3" id="{8A383EC8-E1ED-4B1C-83AB-FCF358346DEC}" vid="{0C72CF74-2798-4B32-9DC5-580244860031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54</TotalTime>
  <Words>251</Words>
  <Application>Microsoft Office PowerPoint</Application>
  <PresentationFormat>Widescreen</PresentationFormat>
  <Paragraphs>213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8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12" baseType="lpstr">
      <vt:lpstr>Academy Sans Office</vt:lpstr>
      <vt:lpstr>Academy Sans Office Black</vt:lpstr>
      <vt:lpstr>Academy Sans Office Extrabold</vt:lpstr>
      <vt:lpstr>Aptos</vt:lpstr>
      <vt:lpstr>Arial</vt:lpstr>
      <vt:lpstr>Calibri</vt:lpstr>
      <vt:lpstr>Normal systemskrift</vt:lpstr>
      <vt:lpstr>Zapf Dingbats</vt:lpstr>
      <vt:lpstr>Blank</vt:lpstr>
      <vt:lpstr>1_Blank</vt:lpstr>
      <vt:lpstr>think-cell Slide</vt:lpstr>
      <vt:lpstr>PowerPoint-præsentation</vt:lpstr>
    </vt:vector>
  </TitlesOfParts>
  <Company>Skatteministeri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linda Krogh Nilsson</dc:creator>
  <cp:lastModifiedBy>Diana Tutundjan</cp:lastModifiedBy>
  <cp:revision>47</cp:revision>
  <dcterms:created xsi:type="dcterms:W3CDTF">2025-09-22T11:39:52Z</dcterms:created>
  <dcterms:modified xsi:type="dcterms:W3CDTF">2026-07-01T07:48:40Z</dcterms:modified>
</cp:coreProperties>
</file>